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notesSlides/notesSlide8.xml" ContentType="application/vnd.openxmlformats-officedocument.presentationml.notesSlide+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notesSlides/notesSlide12.xml" ContentType="application/vnd.openxmlformats-officedocument.presentationml.notesSlide+xml"/>
  <Override PartName="/ppt/tags/tag79.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style1.xml" ContentType="application/vnd.ms-office.chartstyle+xml"/>
  <Override PartName="/ppt/charts/colors1.xml" ContentType="application/vnd.ms-office.chartcolorstyle+xml"/>
  <Override PartName="/ppt/tags/tag80.xml" ContentType="application/vnd.openxmlformats-officedocument.presentationml.tags+xml"/>
  <Override PartName="/ppt/notesSlides/notesSlide14.xml" ContentType="application/vnd.openxmlformats-officedocument.presentationml.notesSlide+xml"/>
  <Override PartName="/ppt/charts/chart50.xml" ContentType="application/vnd.openxmlformats-officedocument.drawingml.chart+xml"/>
  <Override PartName="/ppt/charts/style2.xml" ContentType="application/vnd.ms-office.chartstyle+xml"/>
  <Override PartName="/ppt/charts/colors2.xml" ContentType="application/vnd.ms-office.chartcolorstyle+xml"/>
  <Override PartName="/ppt/tags/tag81.xml" ContentType="application/vnd.openxmlformats-officedocument.presentationml.tags+xml"/>
  <Override PartName="/ppt/notesSlides/notesSlide15.xml" ContentType="application/vnd.openxmlformats-officedocument.presentationml.notesSlide+xml"/>
  <Override PartName="/ppt/charts/chart51.xml" ContentType="application/vnd.openxmlformats-officedocument.drawingml.chart+xml"/>
  <Override PartName="/ppt/charts/style3.xml" ContentType="application/vnd.ms-office.chartstyle+xml"/>
  <Override PartName="/ppt/charts/colors3.xml" ContentType="application/vnd.ms-office.chartcolorstyle+xml"/>
  <Override PartName="/ppt/tags/tag82.xml" ContentType="application/vnd.openxmlformats-officedocument.presentationml.tags+xml"/>
  <Override PartName="/ppt/notesSlides/notesSlide16.xml" ContentType="application/vnd.openxmlformats-officedocument.presentationml.notesSlide+xml"/>
  <Override PartName="/ppt/charts/chart52.xml" ContentType="application/vnd.openxmlformats-officedocument.drawingml.chart+xml"/>
  <Override PartName="/ppt/charts/style4.xml" ContentType="application/vnd.ms-office.chartstyle+xml"/>
  <Override PartName="/ppt/charts/colors4.xml" ContentType="application/vnd.ms-office.chartcolorstyle+xml"/>
  <Override PartName="/ppt/tags/tag83.xml" ContentType="application/vnd.openxmlformats-officedocument.presentationml.tags+xml"/>
  <Override PartName="/ppt/notesSlides/notesSlide17.xml" ContentType="application/vnd.openxmlformats-officedocument.presentationml.notesSlide+xml"/>
  <Override PartName="/ppt/charts/chart53.xml" ContentType="application/vnd.openxmlformats-officedocument.drawingml.chart+xml"/>
  <Override PartName="/ppt/charts/style5.xml" ContentType="application/vnd.ms-office.chartstyle+xml"/>
  <Override PartName="/ppt/charts/colors5.xml" ContentType="application/vnd.ms-office.chartcolorstyle+xml"/>
  <Override PartName="/ppt/tags/tag84.xml" ContentType="application/vnd.openxmlformats-officedocument.presentationml.tags+xml"/>
  <Override PartName="/ppt/notesSlides/notesSlide18.xml" ContentType="application/vnd.openxmlformats-officedocument.presentationml.notesSlide+xml"/>
  <Override PartName="/ppt/charts/chart54.xml" ContentType="application/vnd.openxmlformats-officedocument.drawingml.chart+xml"/>
  <Override PartName="/ppt/charts/style6.xml" ContentType="application/vnd.ms-office.chartstyle+xml"/>
  <Override PartName="/ppt/charts/colors6.xml" ContentType="application/vnd.ms-office.chartcolorstyle+xml"/>
  <Override PartName="/ppt/tags/tag85.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style7.xml" ContentType="application/vnd.ms-office.chartstyle+xml"/>
  <Override PartName="/ppt/charts/colors7.xml" ContentType="application/vnd.ms-office.chartcolorstyle+xml"/>
  <Override PartName="/ppt/tags/tag86.xml" ContentType="application/vnd.openxmlformats-officedocument.presentationml.tags+xml"/>
  <Override PartName="/ppt/notesSlides/notesSlide20.xml" ContentType="application/vnd.openxmlformats-officedocument.presentationml.notesSlide+xml"/>
  <Override PartName="/ppt/charts/chart56.xml" ContentType="application/vnd.openxmlformats-officedocument.drawingml.chart+xml"/>
  <Override PartName="/ppt/charts/style8.xml" ContentType="application/vnd.ms-office.chartstyle+xml"/>
  <Override PartName="/ppt/charts/colors8.xml" ContentType="application/vnd.ms-office.chartcolorstyle+xml"/>
  <Override PartName="/ppt/tags/tag87.xml" ContentType="application/vnd.openxmlformats-officedocument.presentationml.tags+xml"/>
  <Override PartName="/ppt/notesSlides/notesSlide21.xml" ContentType="application/vnd.openxmlformats-officedocument.presentationml.notesSlide+xml"/>
  <Override PartName="/ppt/charts/chart57.xml" ContentType="application/vnd.openxmlformats-officedocument.drawingml.chart+xml"/>
  <Override PartName="/ppt/charts/style9.xml" ContentType="application/vnd.ms-office.chartstyle+xml"/>
  <Override PartName="/ppt/charts/colors9.xml" ContentType="application/vnd.ms-office.chartcolorstyle+xml"/>
  <Override PartName="/ppt/tags/tag88.xml" ContentType="application/vnd.openxmlformats-officedocument.presentationml.tags+xml"/>
  <Override PartName="/ppt/notesSlides/notesSlide22.xml" ContentType="application/vnd.openxmlformats-officedocument.presentationml.notesSlide+xml"/>
  <Override PartName="/ppt/charts/chart58.xml" ContentType="application/vnd.openxmlformats-officedocument.drawingml.chart+xml"/>
  <Override PartName="/ppt/charts/style10.xml" ContentType="application/vnd.ms-office.chartstyle+xml"/>
  <Override PartName="/ppt/charts/colors10.xml" ContentType="application/vnd.ms-office.chartcolorstyle+xml"/>
  <Override PartName="/ppt/tags/tag89.xml" ContentType="application/vnd.openxmlformats-officedocument.presentationml.tags+xml"/>
  <Override PartName="/ppt/notesSlides/notesSlide23.xml" ContentType="application/vnd.openxmlformats-officedocument.presentationml.notesSlide+xml"/>
  <Override PartName="/ppt/charts/chart59.xml" ContentType="application/vnd.openxmlformats-officedocument.drawingml.chart+xml"/>
  <Override PartName="/ppt/charts/style11.xml" ContentType="application/vnd.ms-office.chartstyle+xml"/>
  <Override PartName="/ppt/charts/colors11.xml" ContentType="application/vnd.ms-office.chartcolorstyle+xml"/>
  <Override PartName="/ppt/tags/tag90.xml" ContentType="application/vnd.openxmlformats-officedocument.presentationml.tags+xml"/>
  <Override PartName="/ppt/notesSlides/notesSlide24.xml" ContentType="application/vnd.openxmlformats-officedocument.presentationml.notesSlide+xml"/>
  <Override PartName="/ppt/charts/chart60.xml" ContentType="application/vnd.openxmlformats-officedocument.drawingml.chart+xml"/>
  <Override PartName="/ppt/charts/style12.xml" ContentType="application/vnd.ms-office.chartstyle+xml"/>
  <Override PartName="/ppt/charts/colors12.xml" ContentType="application/vnd.ms-office.chartcolorstyle+xml"/>
  <Override PartName="/ppt/tags/tag91.xml" ContentType="application/vnd.openxmlformats-officedocument.presentationml.tags+xml"/>
  <Override PartName="/ppt/notesSlides/notesSlide25.xml" ContentType="application/vnd.openxmlformats-officedocument.presentationml.notesSlide+xml"/>
  <Override PartName="/ppt/charts/chart61.xml" ContentType="application/vnd.openxmlformats-officedocument.drawingml.chart+xml"/>
  <Override PartName="/ppt/charts/style13.xml" ContentType="application/vnd.ms-office.chartstyle+xml"/>
  <Override PartName="/ppt/charts/colors13.xml" ContentType="application/vnd.ms-office.chartcolorstyle+xml"/>
  <Override PartName="/ppt/tags/tag92.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charts/style14.xml" ContentType="application/vnd.ms-office.chartstyle+xml"/>
  <Override PartName="/ppt/charts/colors14.xml" ContentType="application/vnd.ms-office.chartcolorstyle+xml"/>
  <Override PartName="/ppt/tags/tag93.xml" ContentType="application/vnd.openxmlformats-officedocument.presentationml.tags+xml"/>
  <Override PartName="/ppt/notesSlides/notesSlide27.xml" ContentType="application/vnd.openxmlformats-officedocument.presentationml.notesSlide+xml"/>
  <Override PartName="/ppt/charts/chart63.xml" ContentType="application/vnd.openxmlformats-officedocument.drawingml.chart+xml"/>
  <Override PartName="/ppt/charts/style15.xml" ContentType="application/vnd.ms-office.chartstyle+xml"/>
  <Override PartName="/ppt/charts/colors15.xml" ContentType="application/vnd.ms-office.chartcolorstyle+xml"/>
  <Override PartName="/ppt/tags/tag94.xml" ContentType="application/vnd.openxmlformats-officedocument.presentationml.tags+xml"/>
  <Override PartName="/ppt/notesSlides/notesSlide28.xml" ContentType="application/vnd.openxmlformats-officedocument.presentationml.notesSlide+xml"/>
  <Override PartName="/ppt/charts/chart64.xml" ContentType="application/vnd.openxmlformats-officedocument.drawingml.chart+xml"/>
  <Override PartName="/ppt/charts/style16.xml" ContentType="application/vnd.ms-office.chartstyle+xml"/>
  <Override PartName="/ppt/charts/colors16.xml" ContentType="application/vnd.ms-office.chartcolorstyle+xml"/>
  <Override PartName="/ppt/tags/tag95.xml" ContentType="application/vnd.openxmlformats-officedocument.presentationml.tags+xml"/>
  <Override PartName="/ppt/notesSlides/notesSlide29.xml" ContentType="application/vnd.openxmlformats-officedocument.presentationml.notesSlide+xml"/>
  <Override PartName="/ppt/charts/chart65.xml" ContentType="application/vnd.openxmlformats-officedocument.drawingml.chart+xml"/>
  <Override PartName="/ppt/charts/style17.xml" ContentType="application/vnd.ms-office.chartstyle+xml"/>
  <Override PartName="/ppt/charts/colors17.xml" ContentType="application/vnd.ms-office.chartcolorstyle+xml"/>
  <Override PartName="/ppt/tags/tag96.xml" ContentType="application/vnd.openxmlformats-officedocument.presentationml.tags+xml"/>
  <Override PartName="/ppt/notesSlides/notesSlide30.xml" ContentType="application/vnd.openxmlformats-officedocument.presentationml.notesSlide+xml"/>
  <Override PartName="/ppt/charts/chart66.xml" ContentType="application/vnd.openxmlformats-officedocument.drawingml.chart+xml"/>
  <Override PartName="/ppt/charts/style18.xml" ContentType="application/vnd.ms-office.chartstyle+xml"/>
  <Override PartName="/ppt/charts/colors18.xml" ContentType="application/vnd.ms-office.chartcolorstyle+xml"/>
  <Override PartName="/ppt/tags/tag97.xml" ContentType="application/vnd.openxmlformats-officedocument.presentationml.tags+xml"/>
  <Override PartName="/ppt/notesSlides/notesSlide31.xml" ContentType="application/vnd.openxmlformats-officedocument.presentationml.notesSlide+xml"/>
  <Override PartName="/ppt/charts/chart67.xml" ContentType="application/vnd.openxmlformats-officedocument.drawingml.chart+xml"/>
  <Override PartName="/ppt/charts/style19.xml" ContentType="application/vnd.ms-office.chartstyle+xml"/>
  <Override PartName="/ppt/charts/colors19.xml" ContentType="application/vnd.ms-office.chartcolorstyle+xml"/>
  <Override PartName="/ppt/tags/tag98.xml" ContentType="application/vnd.openxmlformats-officedocument.presentationml.tags+xml"/>
  <Override PartName="/ppt/notesSlides/notesSlide32.xml" ContentType="application/vnd.openxmlformats-officedocument.presentationml.notesSlide+xml"/>
  <Override PartName="/ppt/charts/chart68.xml" ContentType="application/vnd.openxmlformats-officedocument.drawingml.chart+xml"/>
  <Override PartName="/ppt/charts/style20.xml" ContentType="application/vnd.ms-office.chartstyle+xml"/>
  <Override PartName="/ppt/charts/colors20.xml" ContentType="application/vnd.ms-office.chartcolorstyle+xml"/>
  <Override PartName="/ppt/tags/tag99.xml" ContentType="application/vnd.openxmlformats-officedocument.presentationml.tags+xml"/>
  <Override PartName="/ppt/notesSlides/notesSlide33.xml" ContentType="application/vnd.openxmlformats-officedocument.presentationml.notesSlide+xml"/>
  <Override PartName="/ppt/charts/chart69.xml" ContentType="application/vnd.openxmlformats-officedocument.drawingml.chart+xml"/>
  <Override PartName="/ppt/charts/style21.xml" ContentType="application/vnd.ms-office.chartstyle+xml"/>
  <Override PartName="/ppt/charts/colors21.xml" ContentType="application/vnd.ms-office.chartcolorstyle+xml"/>
  <Override PartName="/ppt/tags/tag100.xml" ContentType="application/vnd.openxmlformats-officedocument.presentationml.tags+xml"/>
  <Override PartName="/ppt/notesSlides/notesSlide34.xml" ContentType="application/vnd.openxmlformats-officedocument.presentationml.notesSlide+xml"/>
  <Override PartName="/ppt/charts/chart70.xml" ContentType="application/vnd.openxmlformats-officedocument.drawingml.chart+xml"/>
  <Override PartName="/ppt/charts/style22.xml" ContentType="application/vnd.ms-office.chartstyle+xml"/>
  <Override PartName="/ppt/charts/colors22.xml" ContentType="application/vnd.ms-office.chartcolorstyle+xml"/>
  <Override PartName="/ppt/tags/tag101.xml" ContentType="application/vnd.openxmlformats-officedocument.presentationml.tags+xml"/>
  <Override PartName="/ppt/notesSlides/notesSlide35.xml" ContentType="application/vnd.openxmlformats-officedocument.presentationml.notesSlide+xml"/>
  <Override PartName="/ppt/charts/chart71.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notesSlides/notesSlide36.xml" ContentType="application/vnd.openxmlformats-officedocument.presentationml.notesSlide+xml"/>
  <Override PartName="/ppt/charts/chart72.xml" ContentType="application/vnd.openxmlformats-officedocument.drawingml.chart+xml"/>
  <Override PartName="/ppt/charts/style24.xml" ContentType="application/vnd.ms-office.chartstyle+xml"/>
  <Override PartName="/ppt/charts/colors24.xml" ContentType="application/vnd.ms-office.chartcolorstyle+xml"/>
  <Override PartName="/ppt/tags/tag103.xml" ContentType="application/vnd.openxmlformats-officedocument.presentationml.tags+xml"/>
  <Override PartName="/ppt/notesSlides/notesSlide37.xml" ContentType="application/vnd.openxmlformats-officedocument.presentationml.notesSlide+xml"/>
  <Override PartName="/ppt/charts/chart73.xml" ContentType="application/vnd.openxmlformats-officedocument.drawingml.chart+xml"/>
  <Override PartName="/ppt/charts/style25.xml" ContentType="application/vnd.ms-office.chartstyle+xml"/>
  <Override PartName="/ppt/charts/colors25.xml" ContentType="application/vnd.ms-office.chartcolorstyle+xml"/>
  <Override PartName="/ppt/tags/tag104.xml" ContentType="application/vnd.openxmlformats-officedocument.presentationml.tags+xml"/>
  <Override PartName="/ppt/notesSlides/notesSlide38.xml" ContentType="application/vnd.openxmlformats-officedocument.presentationml.notesSlide+xml"/>
  <Override PartName="/ppt/charts/chart74.xml" ContentType="application/vnd.openxmlformats-officedocument.drawingml.chart+xml"/>
  <Override PartName="/ppt/charts/style26.xml" ContentType="application/vnd.ms-office.chartstyle+xml"/>
  <Override PartName="/ppt/charts/colors26.xml" ContentType="application/vnd.ms-office.chartcolorstyle+xml"/>
  <Override PartName="/ppt/tags/tag105.xml" ContentType="application/vnd.openxmlformats-officedocument.presentationml.tags+xml"/>
  <Override PartName="/ppt/notesSlides/notesSlide39.xml" ContentType="application/vnd.openxmlformats-officedocument.presentationml.notesSlide+xml"/>
  <Override PartName="/ppt/charts/chart75.xml" ContentType="application/vnd.openxmlformats-officedocument.drawingml.chart+xml"/>
  <Override PartName="/ppt/charts/style27.xml" ContentType="application/vnd.ms-office.chartstyle+xml"/>
  <Override PartName="/ppt/charts/colors27.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C071C3BA-AE0A-429A-8DED-BA1FC72CE7BE}">
          <p14:sldIdLst>
            <p14:sldId id="2147477365"/>
            <p14:sldId id="2147477366"/>
            <p14:sldId id="2147477367"/>
          </p14:sldIdLst>
        </p14:section>
        <p14:section name="Price Positioning Summary Sector" id="{9C4FD5D8-AACB-4129-BC07-ECB4CB5D57DF}">
          <p14:sldIdLst>
            <p14:sldId id="2147477368"/>
            <p14:sldId id="2147477369"/>
            <p14:sldId id="2147477370"/>
          </p14:sldIdLst>
        </p14:section>
        <p14:section name="Price Positioning Summary Segment" id="{1EF1B105-1157-48BF-97B8-145FC8FE211C}">
          <p14:sldIdLst>
            <p14:sldId id="2147477371"/>
            <p14:sldId id="2147477372"/>
            <p14:sldId id="2147477373"/>
          </p14:sldIdLst>
        </p14:section>
        <p14:section name="Price Positioning Analysis By Brands" id="{0865C8DD-404F-437B-B8B8-EE5C8D74B1E2}">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Price Positioning Analysis By Manufacturer" id="{EBDDD0E5-7669-43C2-9BE7-249515428734}">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Sectors Share and Growth By Brands" id="{EC60221A-ECBC-4A55-B8EC-A755B3E608B9}">
          <p14:sldIdLst>
            <p14:sldId id="2147477404"/>
            <p14:sldId id="2147477405"/>
            <p14:sldId id="2147477406"/>
          </p14:sldIdLst>
        </p14:section>
        <p14:section name="Segments Share and Growth By Brands" id="{76512675-7781-46F5-96CF-F237C3F01E38}">
          <p14:sldIdLst>
            <p14:sldId id="2147477407"/>
            <p14:sldId id="2147477408"/>
            <p14:sldId id="2147477409"/>
          </p14:sldIdLst>
        </p14:section>
        <p14:section name="Sectors Share and Growth By Manufacturer" id="{D9E984C6-0CA7-4BD0-ADFF-9B8ED72C6D70}">
          <p14:sldIdLst>
            <p14:sldId id="2147477410"/>
            <p14:sldId id="2147477411"/>
            <p14:sldId id="2147477412"/>
          </p14:sldIdLst>
        </p14:section>
        <p14:section name="Segments Share and Growth By Manufacturer" id="{A75ADD48-FEE9-4E51-B97C-4B6F26B76FA9}">
          <p14:sldIdLst>
            <p14:sldId id="2147477413"/>
            <p14:sldId id="2147477414"/>
            <p14:sldId id="2147477415"/>
          </p14:sldIdLst>
        </p14:section>
        <p14:section name="Sec/Seg Value Sales Vs Avg Price By Manufacturer" id="{58A45CAF-1975-4087-B8EF-03791EC06953}">
          <p14:sldIdLst>
            <p14:sldId id="2147477416"/>
            <p14:sldId id="2147477417"/>
            <p14:sldId id="2147477418"/>
          </p14:sldIdLst>
        </p14:section>
        <p14:section name="Sec/Seg Value Sales Vs Avg Price" id="{A6B79EEA-F512-4FFD-ACEA-FBDC9AF6BD50}">
          <p14:sldIdLst>
            <p14:sldId id="2147477419"/>
            <p14:sldId id="2147477420"/>
            <p14:sldId id="2147477421"/>
            <p14:sldId id="2147477422"/>
            <p14:sldId id="2147477423"/>
            <p14:sldId id="2147477424"/>
            <p14:sldId id="2147477425"/>
            <p14:sldId id="2147477426"/>
          </p14:sldIdLst>
        </p14:section>
        <p14:section name="Sectors Value Sales Vs Avg Price" id="{F73CB583-1F2F-434D-B1DC-E054F5DA7D70}">
          <p14:sldIdLst>
            <p14:sldId id="2147477427"/>
            <p14:sldId id="2147477428"/>
            <p14:sldId id="2147477429"/>
            <p14:sldId id="2147477430"/>
            <p14:sldId id="2147477431"/>
            <p14:sldId id="2147477432"/>
            <p14:sldId id="2147477433"/>
            <p14:sldId id="2147477434"/>
          </p14:sldIdLst>
        </p14:section>
        <p14:section name="Segment Value Sales Vs Avg Price" id="{C89BF4AB-5BD4-4F43-9A0B-7E045716279E}">
          <p14:sldIdLst>
            <p14:sldId id="2147477435"/>
            <p14:sldId id="2147477436"/>
            <p14:sldId id="2147477437"/>
            <p14:sldId id="2147477438"/>
            <p14:sldId id="2147477439"/>
            <p14:sldId id="2147477440"/>
            <p14:sldId id="2147477441"/>
            <p14:sldId id="214747744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2.xml"/><Relationship Id="rId1" Type="http://schemas.microsoft.com/office/2011/relationships/chartStyle" Target="style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xml"/><Relationship Id="rId1" Type="http://schemas.microsoft.com/office/2011/relationships/chartStyle" Target="style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xml"/><Relationship Id="rId1" Type="http://schemas.microsoft.com/office/2011/relationships/chartStyle" Target="style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xml"/><Relationship Id="rId1" Type="http://schemas.microsoft.com/office/2011/relationships/chartStyle" Target="style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6.xml"/><Relationship Id="rId1" Type="http://schemas.microsoft.com/office/2011/relationships/chartStyle" Target="style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7.xml"/><Relationship Id="rId1" Type="http://schemas.microsoft.com/office/2011/relationships/chartStyle" Target="style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8.xml"/><Relationship Id="rId1" Type="http://schemas.microsoft.com/office/2011/relationships/chartStyle" Target="style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9.xml"/><Relationship Id="rId1" Type="http://schemas.microsoft.com/office/2011/relationships/chartStyle" Target="style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0.xml"/><Relationship Id="rId1" Type="http://schemas.microsoft.com/office/2011/relationships/chartStyle" Target="style1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1.xml"/><Relationship Id="rId1" Type="http://schemas.microsoft.com/office/2011/relationships/chartStyle" Target="style1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2.xml"/><Relationship Id="rId1" Type="http://schemas.microsoft.com/office/2011/relationships/chartStyle" Target="style1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3.xml"/><Relationship Id="rId1" Type="http://schemas.microsoft.com/office/2011/relationships/chartStyle" Target="style1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4.xml"/><Relationship Id="rId1" Type="http://schemas.microsoft.com/office/2011/relationships/chartStyle" Target="style1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5.xml"/><Relationship Id="rId1" Type="http://schemas.microsoft.com/office/2011/relationships/chartStyle" Target="style1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6.xml"/><Relationship Id="rId1" Type="http://schemas.microsoft.com/office/2011/relationships/chartStyle" Target="style1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7.xml"/><Relationship Id="rId1" Type="http://schemas.microsoft.com/office/2011/relationships/chartStyle" Target="style1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8.xml"/><Relationship Id="rId1" Type="http://schemas.microsoft.com/office/2011/relationships/chartStyle" Target="style1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9.xml"/><Relationship Id="rId1" Type="http://schemas.microsoft.com/office/2011/relationships/chartStyle" Target="style1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0.xml"/><Relationship Id="rId1" Type="http://schemas.microsoft.com/office/2011/relationships/chartStyle" Target="style2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1.xml"/><Relationship Id="rId1" Type="http://schemas.microsoft.com/office/2011/relationships/chartStyle" Target="style2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2.xml"/><Relationship Id="rId1" Type="http://schemas.microsoft.com/office/2011/relationships/chartStyle" Target="style2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3.xml"/><Relationship Id="rId1" Type="http://schemas.microsoft.com/office/2011/relationships/chartStyle" Target="style2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4.xml"/><Relationship Id="rId1" Type="http://schemas.microsoft.com/office/2011/relationships/chartStyle" Target="style2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5.xml"/><Relationship Id="rId1" Type="http://schemas.microsoft.com/office/2011/relationships/chartStyle" Target="style25.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6.xml"/><Relationship Id="rId1" Type="http://schemas.microsoft.com/office/2011/relationships/chartStyle" Target="style26.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7.xml"/><Relationship Id="rId1" Type="http://schemas.microsoft.com/office/2011/relationships/chartStyle" Target="style2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3B6069-DB6B-4EAB-BE09-815B648E3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5D1757-F474-4E13-885C-4E09D4AB5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A5A623-FBE1-41ED-B813-93E3ADF5E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1C4F59-F74A-4D81-8D95-3FA51F85D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8306F1-378C-479A-BFE2-57119EE3F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499E30-CC7F-4976-B897-CA0B4709C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A3B9B3-B88B-41F9-88CB-CB293AC16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DB9A4D-87AC-4C0D-8AAB-5B7D346CA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899999999999</c:v>
                </c:pt>
                <c:pt idx="1">
                  <c:v>12.4175</c:v>
                </c:pt>
                <c:pt idx="2">
                  <c:v>6.0914999999999999</c:v>
                </c:pt>
                <c:pt idx="3">
                  <c:v>10.7544</c:v>
                </c:pt>
                <c:pt idx="4">
                  <c:v>4.9539</c:v>
                </c:pt>
                <c:pt idx="5">
                  <c:v>4.1436000000000002</c:v>
                </c:pt>
                <c:pt idx="6">
                  <c:v>9.5934000000000008</c:v>
                </c:pt>
                <c:pt idx="7">
                  <c:v>13.051500000000001</c:v>
                </c:pt>
              </c:numCache>
            </c:numRef>
          </c:xVal>
          <c:yVal>
            <c:numRef>
              <c:f>Sheet1!$B$2:$B$9</c:f>
              <c:numCache>
                <c:formatCode>General</c:formatCode>
                <c:ptCount val="8"/>
                <c:pt idx="0">
                  <c:v>1.321</c:v>
                </c:pt>
                <c:pt idx="1">
                  <c:v>1.44</c:v>
                </c:pt>
                <c:pt idx="2">
                  <c:v>0.55300000000000005</c:v>
                </c:pt>
                <c:pt idx="3">
                  <c:v>0.77100000000000002</c:v>
                </c:pt>
                <c:pt idx="4">
                  <c:v>0.46200000000000002</c:v>
                </c:pt>
                <c:pt idx="5">
                  <c:v>0.36899999999999999</c:v>
                </c:pt>
                <c:pt idx="6">
                  <c:v>1.512</c:v>
                </c:pt>
                <c:pt idx="7">
                  <c:v>2.0129999999999999</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1C6CEF-D5DD-41D2-A585-DF6B74956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658D60-3D9B-4F8A-B9A9-AD2008BC4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EDEDB4-F9FE-408F-A7E5-01D1A50A0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0E65BE-39CC-4653-8DDC-82E7A26CB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29D1DD-E02B-4BC9-8E62-A3C2367EC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72465B-09CE-497E-B265-8D6606167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40C86D-452E-46CF-AEBC-CABE8F3C2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5FB402-CD45-4C96-A207-55584696B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EF88423-A934-46C9-A336-9ECF5141D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2249A43-9B8F-436B-A633-4756A7E2D5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36ADEB5-F046-4C04-A237-6CFFB3260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5F17B83-8898-4DFF-ADEB-086286129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B890587-5335-458F-89D3-57B3E06E0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CFFACB8-B700-4159-993B-2125E18F6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5C440BF-736F-492D-B0B3-8507877C8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F7FBCA2-77EC-41FC-A9B1-3E7B5A6B0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499999999999</c:v>
                </c:pt>
                <c:pt idx="1">
                  <c:v>12.489800000000001</c:v>
                </c:pt>
                <c:pt idx="2">
                  <c:v>10.9337</c:v>
                </c:pt>
                <c:pt idx="3">
                  <c:v>9.1037999999999997</c:v>
                </c:pt>
                <c:pt idx="4">
                  <c:v>18.031400000000001</c:v>
                </c:pt>
                <c:pt idx="5">
                  <c:v>8.3902999999999999</c:v>
                </c:pt>
                <c:pt idx="6">
                  <c:v>8.4393999999999991</c:v>
                </c:pt>
                <c:pt idx="7">
                  <c:v>13.600300000000001</c:v>
                </c:pt>
              </c:numCache>
            </c:numRef>
          </c:xVal>
          <c:yVal>
            <c:numRef>
              <c:f>Sheet1!$B$2:$B$9</c:f>
              <c:numCache>
                <c:formatCode>General</c:formatCode>
                <c:ptCount val="8"/>
                <c:pt idx="0">
                  <c:v>1.157</c:v>
                </c:pt>
                <c:pt idx="1">
                  <c:v>0.86799999999999999</c:v>
                </c:pt>
                <c:pt idx="2">
                  <c:v>0.63200000000000001</c:v>
                </c:pt>
                <c:pt idx="3">
                  <c:v>0.91400000000000003</c:v>
                </c:pt>
                <c:pt idx="4">
                  <c:v>0.73899999999999999</c:v>
                </c:pt>
                <c:pt idx="5">
                  <c:v>0.65200000000000002</c:v>
                </c:pt>
                <c:pt idx="6">
                  <c:v>0.84799999999999998</c:v>
                </c:pt>
                <c:pt idx="7">
                  <c:v>1.1040000000000001</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pt idx="6">
                    <c:v>Equate</c:v>
                  </c:pt>
                  <c:pt idx="7">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9005DD2-38FD-4000-8102-3EB754EBB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6BD5875-C9B3-47D0-9A98-DDC829BD0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C07C497-CF47-4ED5-ABF4-538FC3E27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0E77CC1-537B-423E-8EB7-B85A2F334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1B3C4E3-24D7-4F0F-9DC4-4A5546EAC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40B7307-382F-4E01-88CC-97111BFA6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601A79F-D7DB-4001-958F-5A101AB44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01C66A1-0095-4DA7-9EBA-807C3655D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099999999998</c:v>
                </c:pt>
                <c:pt idx="1">
                  <c:v>12.683999999999999</c:v>
                </c:pt>
                <c:pt idx="2">
                  <c:v>17.270099999999999</c:v>
                </c:pt>
                <c:pt idx="3">
                  <c:v>10.02</c:v>
                </c:pt>
                <c:pt idx="4">
                  <c:v>10.835599999999999</c:v>
                </c:pt>
                <c:pt idx="5">
                  <c:v>8.0243000000000002</c:v>
                </c:pt>
                <c:pt idx="6">
                  <c:v>12.721399999999999</c:v>
                </c:pt>
              </c:numCache>
            </c:numRef>
          </c:xVal>
          <c:yVal>
            <c:numRef>
              <c:f>Sheet1!$B$2:$B$8</c:f>
              <c:numCache>
                <c:formatCode>General</c:formatCode>
                <c:ptCount val="7"/>
                <c:pt idx="0">
                  <c:v>1.2</c:v>
                </c:pt>
                <c:pt idx="1">
                  <c:v>0.81100000000000005</c:v>
                </c:pt>
                <c:pt idx="2">
                  <c:v>0.79900000000000004</c:v>
                </c:pt>
                <c:pt idx="3">
                  <c:v>0.77600000000000002</c:v>
                </c:pt>
                <c:pt idx="4">
                  <c:v>0.72299999999999998</c:v>
                </c:pt>
                <c:pt idx="5">
                  <c:v>0.47099999999999997</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pt idx="6">
                    <c:v>Crem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11DE7A-32E0-4AB9-8266-EEB81BCC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86805E-0ADC-4476-9B2C-6699B5FB5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79F59B-44D7-4E0C-B4F2-361A09BD0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18DDFA9-BCE3-44E8-A547-B63892D6F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EA08A93-196E-4577-8430-D11C13383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39A00D-2DE7-491E-B05C-46CE05355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7D8D01-E31B-4DA2-A986-12136A0C6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CF509F-9428-41B4-B8EE-DF0BF61D7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468CC3E-F8CE-47B2-BAC0-88F798970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92BBA0A-F106-4013-A469-629A41602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9B785DE-155A-4D67-8523-28B730F6C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E777F5C6-B5AE-4C95-9CF9-5E2C2BAA2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37099DA-44AC-46F0-B246-34153F5FE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03CFBDD3-ECB3-402A-A861-08A09FAC9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7EAD94BC-E5EE-4F3A-90B1-E07828702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22F2C06-7775-4E7B-9D28-D81FE2C60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00000000001</c:v>
                </c:pt>
                <c:pt idx="1">
                  <c:v>23.116800000000001</c:v>
                </c:pt>
                <c:pt idx="2">
                  <c:v>9.6452000000000009</c:v>
                </c:pt>
              </c:numCache>
            </c:numRef>
          </c:xVal>
          <c:yVal>
            <c:numRef>
              <c:f>Sheet1!$B$2:$B$4</c:f>
              <c:numCache>
                <c:formatCode>General</c:formatCode>
                <c:ptCount val="3"/>
                <c:pt idx="0">
                  <c:v>1.069</c:v>
                </c:pt>
                <c:pt idx="1">
                  <c:v>0.66800000000000004</c:v>
                </c:pt>
                <c:pt idx="2">
                  <c:v>0.57199999999999995</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36574D7-8DE1-480A-BED3-66AF5EF91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57F89087-9420-4EEA-930F-0F9E68951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BDC619E6-0ECC-4D15-9473-A6A404D10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1F9DF882-0ED8-49DE-899B-72FC3E9F2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421D6931-35CB-45C3-9E01-AC731B65C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3B0B203D-3B06-4631-9E26-8EEC12AB7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0D1FDEB-6640-429D-8F67-555798604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0F9AE42-2E1E-473F-B094-87E8367D7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71FBF2-56C6-4C48-B968-C756242DC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A6A340-8909-4C24-A747-EA2C5AD64C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7AE970-64D7-4674-ACBF-4DF04F572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EC18E1-0172-4CE9-8387-8156B1684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5068A00-3DE6-498D-96A3-0514366D8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BE58F5-B573-4B15-A421-9B6DEF82F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732F7E-B1D4-43AA-B722-561A56E0A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BB3B0C-A8F2-4227-8A40-CF0F18EB0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C0369CB-A6CA-4AA9-9792-879083008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48AD780-B0F2-41C8-86BC-EB7014C81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D776509-DB37-45B0-8E85-F69D9973B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4488E2D-A555-40D1-B984-7AB072AD2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8D8CC3C-B9F4-42A9-A219-911CE5EF7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B557A04-1999-4273-B615-4E70B5943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5704443-199D-4949-951C-7ECD20BB5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D1D27B2-A829-4601-8810-9F2A80F53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3999999999999</c:v>
                </c:pt>
                <c:pt idx="1">
                  <c:v>12.590299999999999</c:v>
                </c:pt>
                <c:pt idx="2">
                  <c:v>9.5841999999999992</c:v>
                </c:pt>
                <c:pt idx="3">
                  <c:v>8.9646000000000008</c:v>
                </c:pt>
                <c:pt idx="4">
                  <c:v>17.959800000000001</c:v>
                </c:pt>
                <c:pt idx="5">
                  <c:v>8.4400999999999993</c:v>
                </c:pt>
                <c:pt idx="6">
                  <c:v>14.8057</c:v>
                </c:pt>
              </c:numCache>
            </c:numRef>
          </c:xVal>
          <c:yVal>
            <c:numRef>
              <c:f>Sheet1!$B$2:$B$8</c:f>
              <c:numCache>
                <c:formatCode>General</c:formatCode>
                <c:ptCount val="7"/>
                <c:pt idx="0">
                  <c:v>1.105</c:v>
                </c:pt>
                <c:pt idx="1">
                  <c:v>0.90900000000000003</c:v>
                </c:pt>
                <c:pt idx="2">
                  <c:v>0.66600000000000004</c:v>
                </c:pt>
                <c:pt idx="3">
                  <c:v>0.94</c:v>
                </c:pt>
                <c:pt idx="4">
                  <c:v>0.753</c:v>
                </c:pt>
                <c:pt idx="5">
                  <c:v>0.88500000000000001</c:v>
                </c:pt>
                <c:pt idx="6">
                  <c:v>1.5509999999999999</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pt idx="6">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A49924D-3330-4B06-A023-32ED35108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6A8D90A-4780-49C0-A0A8-D4CF2D099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7A8682F-CC55-4B26-B52F-45FEB25DB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B789C7E-97C6-4F75-A736-B13C70A8E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4A36E13-8133-4C46-AAE5-94776FC3A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398DFF4-431C-403F-B879-1C8C0BEE2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AC861E6-5494-4EAE-AB38-410715508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CDAFC95-5303-49EF-A769-FD78934FE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00000000001</c:v>
                </c:pt>
                <c:pt idx="5">
                  <c:v>2.9802</c:v>
                </c:pt>
                <c:pt idx="6">
                  <c:v>13.5345</c:v>
                </c:pt>
              </c:numCache>
            </c:numRef>
          </c:xVal>
          <c:yVal>
            <c:numRef>
              <c:f>Sheet1!$B$2:$B$8</c:f>
              <c:numCache>
                <c:formatCode>General</c:formatCode>
                <c:ptCount val="7"/>
                <c:pt idx="0">
                  <c:v>1.3759999999999999</c:v>
                </c:pt>
                <c:pt idx="1">
                  <c:v>0.86699999999999999</c:v>
                </c:pt>
                <c:pt idx="2">
                  <c:v>0.879</c:v>
                </c:pt>
                <c:pt idx="3">
                  <c:v>0.83</c:v>
                </c:pt>
                <c:pt idx="4">
                  <c:v>0.78200000000000003</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pt idx="6">
                    <c:v>Crem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149C4E-1E8C-445B-B853-C04534737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46260D-F877-4628-AA09-BAEB0DB1F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13479E-3F05-4DDE-A7D2-D973B39298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8287FE-951B-4AAC-A0ED-0E40843F1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A8B496-812F-46EE-8038-131D8CCF2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D7B375-4B31-432D-85F3-F9E69DFD6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B686F4-8D5C-4F41-8EB9-7C13829DC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2CE599-0D1E-46B3-8D3C-92AB90F36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899999999999</c:v>
                </c:pt>
                <c:pt idx="1">
                  <c:v>12.4175</c:v>
                </c:pt>
                <c:pt idx="2">
                  <c:v>6.0914999999999999</c:v>
                </c:pt>
                <c:pt idx="3">
                  <c:v>10.7544</c:v>
                </c:pt>
                <c:pt idx="4">
                  <c:v>4.9539</c:v>
                </c:pt>
                <c:pt idx="5">
                  <c:v>4.1436000000000002</c:v>
                </c:pt>
                <c:pt idx="6">
                  <c:v>9.5934000000000008</c:v>
                </c:pt>
                <c:pt idx="7">
                  <c:v>13.051500000000001</c:v>
                </c:pt>
              </c:numCache>
            </c:numRef>
          </c:xVal>
          <c:yVal>
            <c:numRef>
              <c:f>Sheet1!$B$2:$B$9</c:f>
              <c:numCache>
                <c:formatCode>General</c:formatCode>
                <c:ptCount val="8"/>
                <c:pt idx="0">
                  <c:v>1.321</c:v>
                </c:pt>
                <c:pt idx="1">
                  <c:v>1.44</c:v>
                </c:pt>
                <c:pt idx="2">
                  <c:v>0.55300000000000005</c:v>
                </c:pt>
                <c:pt idx="3">
                  <c:v>0.77100000000000002</c:v>
                </c:pt>
                <c:pt idx="4">
                  <c:v>0.46200000000000002</c:v>
                </c:pt>
                <c:pt idx="5">
                  <c:v>0.36899999999999999</c:v>
                </c:pt>
                <c:pt idx="6">
                  <c:v>1.512</c:v>
                </c:pt>
                <c:pt idx="7">
                  <c:v>2.0129999999999999</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439A14-A056-40F6-AAA0-42ABFD183C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6F0529-84A3-44EF-821B-4CAEC5A69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92592E-CD58-40D4-8D42-FAC645F2F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98E763-BC8E-4060-91BD-E8A32187B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CDBF258-80B4-4C90-9A1B-721E960FE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1AB22B-3B79-4592-AF92-F8DD6F8E2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E57E62-F27A-47EC-826A-7CFB10838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7EBCE1D-0392-48B6-AA57-2FE9278F1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799999999999</c:v>
                </c:pt>
                <c:pt idx="1">
                  <c:v>18.1432</c:v>
                </c:pt>
                <c:pt idx="2">
                  <c:v>23.116800000000001</c:v>
                </c:pt>
                <c:pt idx="3">
                  <c:v>9.6452000000000009</c:v>
                </c:pt>
              </c:numCache>
            </c:numRef>
          </c:xVal>
          <c:yVal>
            <c:numRef>
              <c:f>Sheet1!$B$2:$B$5</c:f>
              <c:numCache>
                <c:formatCode>General</c:formatCode>
                <c:ptCount val="4"/>
                <c:pt idx="0">
                  <c:v>1.075</c:v>
                </c:pt>
                <c:pt idx="1">
                  <c:v>0.6</c:v>
                </c:pt>
                <c:pt idx="2">
                  <c:v>1.391</c:v>
                </c:pt>
                <c:pt idx="3">
                  <c:v>1.1919999999999999</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pt idx="3">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022EDE-B59B-48F8-B870-ED0ED3B67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983796-D862-4930-AD4A-327AFC8BE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E481EE-E181-4BC7-B293-2F672B822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CD9AF8-742F-4872-BF78-E6641D933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499D748-F0F6-4FE5-A40F-60FEE52C9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D3535F-113C-4EB8-8BD0-5BEF8900C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778B8E-0D76-4B4E-9A8A-E8E2F3586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8F7290-4DF9-4580-9D59-24A71A1B1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799999999999</c:v>
                </c:pt>
                <c:pt idx="1">
                  <c:v>18.1432</c:v>
                </c:pt>
                <c:pt idx="2">
                  <c:v>23.116800000000001</c:v>
                </c:pt>
                <c:pt idx="3">
                  <c:v>9.6452000000000009</c:v>
                </c:pt>
              </c:numCache>
            </c:numRef>
          </c:xVal>
          <c:yVal>
            <c:numRef>
              <c:f>Sheet1!$B$2:$B$5</c:f>
              <c:numCache>
                <c:formatCode>General</c:formatCode>
                <c:ptCount val="4"/>
                <c:pt idx="0">
                  <c:v>1.075</c:v>
                </c:pt>
                <c:pt idx="1">
                  <c:v>0.6</c:v>
                </c:pt>
                <c:pt idx="2">
                  <c:v>1.391</c:v>
                </c:pt>
                <c:pt idx="3">
                  <c:v>1.1919999999999999</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pt idx="3">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01EBA0-D0F7-4D48-913E-388EDAB2A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A5B3F4-88B0-4622-B1BC-C06EDC3D6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DE42F0-333D-4C06-88FD-AA6E78042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992AA7-0130-4744-A397-9B22292D8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47F11B-611F-4C1A-BB1D-E8A5ECBA9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CC9D91-5888-42F7-9608-F20C1311E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D94B0A-836A-4B16-A8B8-27CC27798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423BA6-7FE6-409A-9075-CEC811B37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14.367000000000001</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3.1509999999999998</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86C15F-8FB3-4A37-880D-AA16E0A50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6BE455-A47F-4F31-AA99-96BD87262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6618C9-80F3-4C04-9496-47E17597F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45F527-482A-4007-9541-2B975DD88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7F7148-8C1F-4F68-B9DB-BEFE68BF1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4A3DC9-AE1F-4CBC-A1B5-4B91DBD07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465B8F-3983-4E36-9E67-984586D22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5B17A6-62FB-40B0-B92E-08788A99F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10.1455</c:v>
                </c:pt>
                <c:pt idx="7">
                  <c:v>13.051500000000001</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76300000000000001</c:v>
                </c:pt>
                <c:pt idx="7">
                  <c:v>1.2390000000000001</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B833D8-03F8-4F4B-A7B6-E4808F1E0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8F9399-E7C9-4066-BB3E-A39CFBB9D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9DC1EB-55C7-4808-9D0D-B31E5D371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5FE3D5B-FAE1-4EAC-8FF7-6E5433136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22157B4-5FCA-4AE3-8016-814F0EF07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653C0A-287B-400C-AB71-810D56DE4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779D94-89CA-4736-8ABB-4E5ECD6F4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E1C484-EA9D-437A-B03F-B4A3D2E6B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699999999999</c:v>
                </c:pt>
                <c:pt idx="1">
                  <c:v>23.116800000000001</c:v>
                </c:pt>
                <c:pt idx="2">
                  <c:v>9.6452000000000009</c:v>
                </c:pt>
              </c:numCache>
            </c:numRef>
          </c:xVal>
          <c:yVal>
            <c:numRef>
              <c:f>Sheet1!$B$2:$B$4</c:f>
              <c:numCache>
                <c:formatCode>General</c:formatCode>
                <c:ptCount val="3"/>
                <c:pt idx="0">
                  <c:v>1.004</c:v>
                </c:pt>
                <c:pt idx="1">
                  <c:v>0.86499999999999999</c:v>
                </c:pt>
                <c:pt idx="2">
                  <c:v>0.74099999999999999</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FC5A23-2C5B-4286-9F6F-4F7FE8C8D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374C0F2-C291-48DF-A5CA-A22D7A599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B5F5AD-D0E0-479A-8CDC-4D4C05904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AD0442-F823-49D7-B3A8-9E4534AC7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2DE7CD-A39D-4BE7-80E4-0116E4A8D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3AB1E4-AC72-42D3-8CD4-004D8A9F9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84B23D-A720-460C-AE9F-FF3E156CBB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B98AEE-9229-4017-802C-C1EB64965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14.367000000000001</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1.8779999999999999</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BB220E-1855-48B0-B9ED-00D900011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11C5B49-73F6-42DB-9EE2-0C542BDBC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DB9CFC-26FB-404C-A0C0-AF251785C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B23A37-6624-4997-B046-BE8D1012D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3622A1-8E46-4985-8D90-AC742991F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45525D-B4A2-4C47-93EA-70C8A7973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B945A4-1E13-4E9C-A83C-99F26E5CC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E3F1E14-7384-452E-81C4-01489A6D7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89D558-10C4-4C9B-A125-C61A42767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F207E5-BC57-4D77-AB51-26A2B6620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9057BD-F9A5-4BC6-98D1-A2C9FDEB9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926E59A-35B6-4C0C-992A-634B3D5ED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999DA1-1CC8-4EFD-9126-24252FF70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2D3554B-2255-42B7-AA60-368E5E0C8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FFDE90-A47D-40A4-A3C5-51377B7D8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326ADE-497D-4026-AB89-5FA69FA10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262391-35A6-4B8A-8F96-BA9F0D520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ACB373-4A49-4AB6-99FD-30BA4EACE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9BA903-B1B4-477E-9561-F985D4557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E7288D-9806-4985-AB92-A244CE3BE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08EC84D-BFB3-4F9E-8290-DE4F12553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D060D8A-47FB-441A-945A-5A7F132A3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FB2073A-62A8-4D5A-AD34-9AFAB29CA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A71ED76-021C-4FD9-9844-CB02E3E47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A93178-3520-4097-AC46-94A929B700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F5F647-4B11-4EFD-96BA-266315BF4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0479B6-4CCC-48D0-B7C3-5C2C35FD3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30F7C6-EF45-4984-A3CF-C6DC0A942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9F9FB7-04F4-4B0D-AC84-C1AAE5E67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4D209B-EED0-4309-ADDB-C7447F917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339E63-7801-4D5B-ADFB-771CF7953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7F30F3-9FFF-432F-B68A-AD4B76B34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499999999999</c:v>
                </c:pt>
                <c:pt idx="1">
                  <c:v>12.489800000000001</c:v>
                </c:pt>
                <c:pt idx="2">
                  <c:v>10.9337</c:v>
                </c:pt>
                <c:pt idx="3">
                  <c:v>9.1037999999999997</c:v>
                </c:pt>
                <c:pt idx="4">
                  <c:v>18.031400000000001</c:v>
                </c:pt>
                <c:pt idx="5">
                  <c:v>8.3902999999999999</c:v>
                </c:pt>
                <c:pt idx="6">
                  <c:v>8.4393999999999991</c:v>
                </c:pt>
                <c:pt idx="7">
                  <c:v>13.600300000000001</c:v>
                </c:pt>
              </c:numCache>
            </c:numRef>
          </c:xVal>
          <c:yVal>
            <c:numRef>
              <c:f>Sheet1!$B$2:$B$9</c:f>
              <c:numCache>
                <c:formatCode>General</c:formatCode>
                <c:ptCount val="8"/>
                <c:pt idx="0">
                  <c:v>1.157</c:v>
                </c:pt>
                <c:pt idx="1">
                  <c:v>0.86799999999999999</c:v>
                </c:pt>
                <c:pt idx="2">
                  <c:v>0.63200000000000001</c:v>
                </c:pt>
                <c:pt idx="3">
                  <c:v>0.91400000000000003</c:v>
                </c:pt>
                <c:pt idx="4">
                  <c:v>0.73899999999999999</c:v>
                </c:pt>
                <c:pt idx="5">
                  <c:v>0.65200000000000002</c:v>
                </c:pt>
                <c:pt idx="6">
                  <c:v>0.84799999999999998</c:v>
                </c:pt>
                <c:pt idx="7">
                  <c:v>1.1040000000000001</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2AA980-3D1F-4C34-993F-76B359272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4F1200-6B5F-47BA-908A-F1BE433BB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6BEE3A-49B7-4EFF-9DA6-B79007D90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6DBDD4B-EB41-48AE-A8AA-73DB1DCB5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0FF1891-6294-4F34-A067-E1ABE3A9B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AD4630E-33E2-44DB-A30D-EDA1BF907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4999CD-A23A-4478-8C27-3879255B0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F6EF22-658C-4073-8C9E-BE3BF9C47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00000000001</c:v>
                </c:pt>
                <c:pt idx="1">
                  <c:v>23.116800000000001</c:v>
                </c:pt>
                <c:pt idx="2">
                  <c:v>9.6452000000000009</c:v>
                </c:pt>
              </c:numCache>
            </c:numRef>
          </c:xVal>
          <c:yVal>
            <c:numRef>
              <c:f>Sheet1!$B$2:$B$4</c:f>
              <c:numCache>
                <c:formatCode>General</c:formatCode>
                <c:ptCount val="3"/>
                <c:pt idx="0">
                  <c:v>1.069</c:v>
                </c:pt>
                <c:pt idx="1">
                  <c:v>0.66800000000000004</c:v>
                </c:pt>
                <c:pt idx="2">
                  <c:v>0.57199999999999995</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3E263B-8320-4C42-8620-B0C1F263C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3DB233-DE1E-4C54-9D3C-BB4FE7C9D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BCA35E-42D4-4EA5-B5C1-E0773637B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7169DD-8C10-4701-92CA-471CE6519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80AB7F-3A42-43D4-9290-E9C3037B3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D1F15A-3681-4F9B-9DFC-641DC66B2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E8A13D-9262-4F0A-A32A-2BC24BF3F9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EA8D42-179C-4C57-88B4-356D186F8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14.367000000000001</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3.1509999999999998</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C6758A-399E-490D-9266-4B0DE908A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DB8AB9-CFB3-432C-9525-3888239D2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028A17-34B9-4978-BD5D-629FEDE92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494BD1-C634-43CF-8D21-46644659B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DA0697-47DB-4F91-8649-A01F335FB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4C5FE5-3169-4DBD-BCE7-5351E3BA0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2E18CF-0708-481B-ACF8-8861B16B0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5E023B-9DAC-40B2-8B55-4A2CD2404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3999999999999</c:v>
                </c:pt>
                <c:pt idx="1">
                  <c:v>12.590299999999999</c:v>
                </c:pt>
                <c:pt idx="2">
                  <c:v>9.5841999999999992</c:v>
                </c:pt>
                <c:pt idx="3">
                  <c:v>8.9646000000000008</c:v>
                </c:pt>
                <c:pt idx="4">
                  <c:v>17.959800000000001</c:v>
                </c:pt>
                <c:pt idx="5">
                  <c:v>8.4400999999999993</c:v>
                </c:pt>
                <c:pt idx="6">
                  <c:v>14.8057</c:v>
                </c:pt>
              </c:numCache>
            </c:numRef>
          </c:xVal>
          <c:yVal>
            <c:numRef>
              <c:f>Sheet1!$B$2:$B$8</c:f>
              <c:numCache>
                <c:formatCode>General</c:formatCode>
                <c:ptCount val="7"/>
                <c:pt idx="0">
                  <c:v>1.105</c:v>
                </c:pt>
                <c:pt idx="1">
                  <c:v>0.90900000000000003</c:v>
                </c:pt>
                <c:pt idx="2">
                  <c:v>0.66600000000000004</c:v>
                </c:pt>
                <c:pt idx="3">
                  <c:v>0.94</c:v>
                </c:pt>
                <c:pt idx="4">
                  <c:v>0.753</c:v>
                </c:pt>
                <c:pt idx="5">
                  <c:v>0.88500000000000001</c:v>
                </c:pt>
                <c:pt idx="6">
                  <c:v>1.5509999999999999</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7C6FD9-FB58-410E-8BD7-F57DD317C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1464C9-DA5A-4676-93A4-AF8732B07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AA978E-A161-42B7-8AE5-A4EE6F5C4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82A708-6B34-4D1B-8C87-F7453E413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78A0A6-8F63-45A0-B3CE-3AE074E29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07BE5D-25D8-4984-B258-E8542B471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6CEEBE-C9BB-49F5-9EAE-1E38EEBC6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B71E6A9-4F27-4AFE-AF9D-A078B8CF9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099999999998</c:v>
                </c:pt>
                <c:pt idx="1">
                  <c:v>12.683999999999999</c:v>
                </c:pt>
                <c:pt idx="2">
                  <c:v>17.270099999999999</c:v>
                </c:pt>
                <c:pt idx="3">
                  <c:v>10.02</c:v>
                </c:pt>
                <c:pt idx="4">
                  <c:v>10.835599999999999</c:v>
                </c:pt>
                <c:pt idx="5">
                  <c:v>8.0243000000000002</c:v>
                </c:pt>
                <c:pt idx="6">
                  <c:v>12.721399999999999</c:v>
                </c:pt>
              </c:numCache>
            </c:numRef>
          </c:xVal>
          <c:yVal>
            <c:numRef>
              <c:f>Sheet1!$B$2:$B$8</c:f>
              <c:numCache>
                <c:formatCode>General</c:formatCode>
                <c:ptCount val="7"/>
                <c:pt idx="0">
                  <c:v>1.2</c:v>
                </c:pt>
                <c:pt idx="1">
                  <c:v>0.81100000000000005</c:v>
                </c:pt>
                <c:pt idx="2">
                  <c:v>0.79900000000000004</c:v>
                </c:pt>
                <c:pt idx="3">
                  <c:v>0.77600000000000002</c:v>
                </c:pt>
                <c:pt idx="4">
                  <c:v>0.72299999999999998</c:v>
                </c:pt>
                <c:pt idx="5">
                  <c:v>0.47099999999999997</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313BDE-7548-4FCF-AA72-29C3A0BA9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19E6F2E-90C5-4CF0-9C8B-097B3BC1B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BE73A06-F736-40B8-A894-728267E1E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661569B-DBB5-4194-A52B-F7036D594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D807FC-0763-4149-9A94-985EBD67F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D71B079-02AE-45F7-B693-1630A5CB1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F131B7D-994A-40A9-A1DB-09E044988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DB46403-E7B3-41BE-9598-DD83AB730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4CBB7D-F4AF-4AF6-8DCD-CE8A7B5F8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5D7221-5CBA-472E-93F7-676AFA3B9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BFF5C4-2A08-42AF-B1F9-2459A285D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75655C-063E-4340-ADC3-D715C603A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73FEF7-4D15-41D7-B912-0D86551A2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78F7DA-F9A3-4E00-938D-A8E2FB92E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653487-4A6E-4006-865C-1F74100CE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BFAEC6-568A-44C7-BC70-4D55BF51D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00000000001</c:v>
                </c:pt>
                <c:pt idx="5">
                  <c:v>2.9802</c:v>
                </c:pt>
                <c:pt idx="6">
                  <c:v>13.5345</c:v>
                </c:pt>
              </c:numCache>
            </c:numRef>
          </c:xVal>
          <c:yVal>
            <c:numRef>
              <c:f>Sheet1!$B$2:$B$8</c:f>
              <c:numCache>
                <c:formatCode>General</c:formatCode>
                <c:ptCount val="7"/>
                <c:pt idx="0">
                  <c:v>1.3759999999999999</c:v>
                </c:pt>
                <c:pt idx="1">
                  <c:v>0.86699999999999999</c:v>
                </c:pt>
                <c:pt idx="2">
                  <c:v>0.879</c:v>
                </c:pt>
                <c:pt idx="3">
                  <c:v>0.83</c:v>
                </c:pt>
                <c:pt idx="4">
                  <c:v>0.78200000000000003</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07A5D5-9B9F-4727-9F8C-3141F951B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FFE2FC-DD95-4C4E-902D-2E98DBB6C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2E4F6D-2819-4852-BA43-A70DA159F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B432DB-D7F3-4E02-8B83-BC98FC099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1A2F87-5263-41C0-B1E3-253567F3B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3E99FD-5A40-44F4-B364-A69DBB3FA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66602F5-EF8C-4A42-A7B2-A7BBF3097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E50EA27-48B2-498C-866C-31DC7FBAC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828700000000001</c:v>
                </c:pt>
                <c:pt idx="1">
                  <c:v>12.4175</c:v>
                </c:pt>
                <c:pt idx="2">
                  <c:v>6.1783000000000001</c:v>
                </c:pt>
                <c:pt idx="3">
                  <c:v>10.7407</c:v>
                </c:pt>
                <c:pt idx="4">
                  <c:v>4.5225999999999997</c:v>
                </c:pt>
                <c:pt idx="5">
                  <c:v>9.6029999999999998</c:v>
                </c:pt>
              </c:numCache>
            </c:numRef>
          </c:xVal>
          <c:yVal>
            <c:numRef>
              <c:f>Sheet1!$B$2:$B$7</c:f>
              <c:numCache>
                <c:formatCode>General</c:formatCode>
                <c:ptCount val="6"/>
                <c:pt idx="0">
                  <c:v>1.32</c:v>
                </c:pt>
                <c:pt idx="1">
                  <c:v>1.44</c:v>
                </c:pt>
                <c:pt idx="2">
                  <c:v>0.55100000000000005</c:v>
                </c:pt>
                <c:pt idx="3">
                  <c:v>0.78</c:v>
                </c:pt>
                <c:pt idx="4">
                  <c:v>0.41199999999999998</c:v>
                </c:pt>
                <c:pt idx="5">
                  <c:v>1.512</c:v>
                </c:pt>
              </c:numCache>
            </c:numRef>
          </c:yVal>
          <c:bubbleSize>
            <c:numRef>
              <c:f>Sheet1!$C$2:$C$7</c:f>
              <c:numCache>
                <c:formatCode>General</c:formatCode>
                <c:ptCount val="6"/>
                <c:pt idx="0">
                  <c:v>975089151</c:v>
                </c:pt>
                <c:pt idx="1">
                  <c:v>184811438</c:v>
                </c:pt>
                <c:pt idx="2">
                  <c:v>138157817</c:v>
                </c:pt>
                <c:pt idx="3">
                  <c:v>117890971</c:v>
                </c:pt>
                <c:pt idx="4">
                  <c:v>72039189</c:v>
                </c:pt>
                <c:pt idx="5">
                  <c:v>31077509</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Pbg</c:v>
                  </c:pt>
                  <c:pt idx="5">
                    <c:v>Unilev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2EA48A-63E3-4942-9669-DE50619D7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5987E0-3AE5-4317-9899-204A000B5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ACC074-69A3-444F-864F-16403404B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D623371-9C9F-4C9E-BD3A-16265460B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65CA972-09E8-4D21-A07C-0B9D484D9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616D81D-AC0B-473D-807B-1D52088C5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CA94344-DFC6-4307-930F-8483CCEA8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DCFA26-4026-4457-AAB9-7A1672852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2800000000001</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8256</c:v>
                </c:pt>
                <c:pt idx="2">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572DF9-3E2E-4806-8F38-807FBD24F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B26B1CF-8F86-44AF-AE8D-DC7BFAF25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FD7B33-D754-480A-801D-310EBA97B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AA4EA7-2140-41BF-808C-967181DA3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248400-ADBD-419E-A469-6FB3A9C14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FAF698-909F-4494-BC6A-BE85800CD4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80BF21-B7B2-48CB-ACCB-5F98DB241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8C769D-4803-4646-A009-EA63819AA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988200000000001</c:v>
                </c:pt>
                <c:pt idx="1">
                  <c:v>12.557499999999999</c:v>
                </c:pt>
                <c:pt idx="2">
                  <c:v>6.4696999999999996</c:v>
                </c:pt>
                <c:pt idx="3">
                  <c:v>4.1441999999999997</c:v>
                </c:pt>
                <c:pt idx="4">
                  <c:v>9.9690999999999992</c:v>
                </c:pt>
                <c:pt idx="5">
                  <c:v>10.132099999999999</c:v>
                </c:pt>
                <c:pt idx="6">
                  <c:v>5.5808999999999997</c:v>
                </c:pt>
              </c:numCache>
            </c:numRef>
          </c:xVal>
          <c:yVal>
            <c:numRef>
              <c:f>Sheet1!$B$2:$B$8</c:f>
              <c:numCache>
                <c:formatCode>General</c:formatCode>
                <c:ptCount val="7"/>
                <c:pt idx="0">
                  <c:v>1.401</c:v>
                </c:pt>
                <c:pt idx="1">
                  <c:v>1.5780000000000001</c:v>
                </c:pt>
                <c:pt idx="2">
                  <c:v>0.57899999999999996</c:v>
                </c:pt>
                <c:pt idx="3">
                  <c:v>0.41199999999999998</c:v>
                </c:pt>
                <c:pt idx="4">
                  <c:v>0.79900000000000004</c:v>
                </c:pt>
                <c:pt idx="5">
                  <c:v>1.6180000000000001</c:v>
                </c:pt>
                <c:pt idx="6">
                  <c:v>0.36099999999999999</c:v>
                </c:pt>
              </c:numCache>
            </c:numRef>
          </c:yVal>
          <c:bubbleSize>
            <c:numRef>
              <c:f>Sheet1!$C$2:$C$8</c:f>
              <c:numCache>
                <c:formatCode>General</c:formatCode>
                <c:ptCount val="7"/>
                <c:pt idx="0">
                  <c:v>277475646</c:v>
                </c:pt>
                <c:pt idx="1">
                  <c:v>69574516</c:v>
                </c:pt>
                <c:pt idx="2">
                  <c:v>57054362</c:v>
                </c:pt>
                <c:pt idx="3">
                  <c:v>34710867</c:v>
                </c:pt>
                <c:pt idx="4">
                  <c:v>33783546</c:v>
                </c:pt>
                <c:pt idx="5">
                  <c:v>12761444</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Pbg</c:v>
                  </c:pt>
                  <c:pt idx="4">
                    <c:v>Edgewell Personal Care</c:v>
                  </c:pt>
                  <c:pt idx="5">
                    <c:v>Unilever</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9766B5-738D-4B47-B84F-AAA5A3A43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C9C1BF-3C66-47BA-AA16-9574E0823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985EFC-BA78-49C4-8550-2465F65FA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E63862-3955-4477-A808-5EFD93BA8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43EDA3-4B84-4777-9D5E-F81345ABD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70DF3A-B3AA-4DEA-86CE-1AACBF5F6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242742-5FAD-40F1-A70C-1CA967A85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9F6812-5CD6-47F0-A127-48D740661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1891</c:v>
                </c:pt>
                <c:pt idx="1">
                  <c:v>12.6136</c:v>
                </c:pt>
                <c:pt idx="2">
                  <c:v>13.6328</c:v>
                </c:pt>
                <c:pt idx="3">
                  <c:v>8.1267999999999994</c:v>
                </c:pt>
                <c:pt idx="4">
                  <c:v>9.6029999999999998</c:v>
                </c:pt>
                <c:pt idx="5">
                  <c:v>8.5785</c:v>
                </c:pt>
                <c:pt idx="6">
                  <c:v>6.1635</c:v>
                </c:pt>
              </c:numCache>
            </c:numRef>
          </c:xVal>
          <c:yVal>
            <c:numRef>
              <c:f>Sheet1!$B$2:$B$8</c:f>
              <c:numCache>
                <c:formatCode>General</c:formatCode>
                <c:ptCount val="7"/>
                <c:pt idx="0">
                  <c:v>1.2569999999999999</c:v>
                </c:pt>
                <c:pt idx="1">
                  <c:v>0.90200000000000002</c:v>
                </c:pt>
                <c:pt idx="2">
                  <c:v>0.83699999999999997</c:v>
                </c:pt>
                <c:pt idx="3">
                  <c:v>0.45200000000000001</c:v>
                </c:pt>
                <c:pt idx="4">
                  <c:v>0.93100000000000005</c:v>
                </c:pt>
                <c:pt idx="5">
                  <c:v>0.59799999999999998</c:v>
                </c:pt>
                <c:pt idx="6">
                  <c:v>0.26700000000000002</c:v>
                </c:pt>
              </c:numCache>
            </c:numRef>
          </c:yVal>
          <c:bubbleSize>
            <c:numRef>
              <c:f>Sheet1!$C$2:$C$8</c:f>
              <c:numCache>
                <c:formatCode>General</c:formatCode>
                <c:ptCount val="7"/>
                <c:pt idx="0">
                  <c:v>726078992</c:v>
                </c:pt>
                <c:pt idx="1">
                  <c:v>182395509</c:v>
                </c:pt>
                <c:pt idx="2">
                  <c:v>52431265</c:v>
                </c:pt>
                <c:pt idx="3">
                  <c:v>51685391</c:v>
                </c:pt>
                <c:pt idx="4">
                  <c:v>31077509</c:v>
                </c:pt>
                <c:pt idx="5">
                  <c:v>23657875</c:v>
                </c:pt>
                <c:pt idx="6">
                  <c:v>10890684</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Bic</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E83DFA-5915-42E5-8F61-E701F698E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803C1F-708A-44E5-B3DB-A5C571101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28D93F6-4A8A-41E6-8287-1E1955C1F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689BB12-B732-4640-8AA5-72AEF5740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7B90008-D5DC-497A-A8E7-1D5842B68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3DE4DB-9D4A-4AC6-A954-A58B32372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A2344A-975B-4442-8978-471B887CD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ADB94F6-0F06-4947-B08A-098775245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41C357-DF4B-487A-B9FB-646D5C798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337FD1-4B64-4748-86C2-57A93ED4B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A0AF76-0175-4A93-B845-F91F95BE1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EC304C-588F-4646-8421-F3895D884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282999-94FC-4882-BD56-16985196A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B09361-B776-4251-B3F5-A3FB9CF37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EB02ED-2E9C-4E70-8A20-E87F64909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40DB3B9-5073-48EE-8867-613EA695D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018000000000001</c:v>
                </c:pt>
                <c:pt idx="1">
                  <c:v>12.6411</c:v>
                </c:pt>
                <c:pt idx="2">
                  <c:v>8.6961999999999993</c:v>
                </c:pt>
                <c:pt idx="3">
                  <c:v>13.205299999999999</c:v>
                </c:pt>
                <c:pt idx="4">
                  <c:v>10.132099999999999</c:v>
                </c:pt>
                <c:pt idx="5">
                  <c:v>10.146000000000001</c:v>
                </c:pt>
                <c:pt idx="6">
                  <c:v>5.5808999999999997</c:v>
                </c:pt>
              </c:numCache>
            </c:numRef>
          </c:xVal>
          <c:yVal>
            <c:numRef>
              <c:f>Sheet1!$B$2:$B$8</c:f>
              <c:numCache>
                <c:formatCode>General</c:formatCode>
                <c:ptCount val="7"/>
                <c:pt idx="0">
                  <c:v>1.446</c:v>
                </c:pt>
                <c:pt idx="1">
                  <c:v>0.94899999999999995</c:v>
                </c:pt>
                <c:pt idx="2">
                  <c:v>0.47899999999999998</c:v>
                </c:pt>
                <c:pt idx="3">
                  <c:v>0.91600000000000004</c:v>
                </c:pt>
                <c:pt idx="4">
                  <c:v>0.96399999999999997</c:v>
                </c:pt>
                <c:pt idx="5">
                  <c:v>0.82699999999999996</c:v>
                </c:pt>
                <c:pt idx="6">
                  <c:v>0.215</c:v>
                </c:pt>
              </c:numCache>
            </c:numRef>
          </c:yVal>
          <c:bubbleSize>
            <c:numRef>
              <c:f>Sheet1!$C$2:$C$8</c:f>
              <c:numCache>
                <c:formatCode>General</c:formatCode>
                <c:ptCount val="7"/>
                <c:pt idx="0">
                  <c:v>189981829</c:v>
                </c:pt>
                <c:pt idx="1">
                  <c:v>69045242</c:v>
                </c:pt>
                <c:pt idx="2">
                  <c:v>27200026</c:v>
                </c:pt>
                <c:pt idx="3">
                  <c:v>14680043</c:v>
                </c:pt>
                <c:pt idx="4">
                  <c:v>12761444</c:v>
                </c:pt>
                <c:pt idx="5">
                  <c:v>9913053</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72972A-C367-42BC-BE08-22B15FB13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0B2BDE-AD89-4ED2-AD86-03D316FFB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D006F6-501F-4141-AAC0-F4AE9456C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E3E789-58D1-43E4-9105-38F40A6EC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3C2AF9-45FD-449B-AFE0-A5D3ED3ED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4B5BA2-7E13-4FE7-AC6C-E345E512E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36C6A5-645E-4D54-9FDD-A01EAA54A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0DA952-3953-4285-B10E-74706A20F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10.1455</c:v>
                </c:pt>
                <c:pt idx="7">
                  <c:v>13.051500000000001</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76300000000000001</c:v>
                </c:pt>
                <c:pt idx="7">
                  <c:v>1.2390000000000001</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1E3AF7-6EE2-4FBF-9F25-9ACE3B370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44DC9D-4514-4A6C-A1E3-738758697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8307D4-ACD4-42F2-A6C5-FA41330B0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4839E8-CB79-4431-A897-99242C9457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A851C8-AB0C-47ED-9E27-0D264AD76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082733E-6374-4E8B-A2B0-A40956BED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12B284-412D-49A6-85ED-65E7AA723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F43402-82B8-4F82-B350-F669E633E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5176</c:v>
                </c:pt>
                <c:pt idx="1">
                  <c:v>5.4038000000000004</c:v>
                </c:pt>
                <c:pt idx="2">
                  <c:v>9.1806999999999999</c:v>
                </c:pt>
                <c:pt idx="3">
                  <c:v>3.6734</c:v>
                </c:pt>
                <c:pt idx="4">
                  <c:v>2.5627</c:v>
                </c:pt>
              </c:numCache>
            </c:numRef>
          </c:xVal>
          <c:yVal>
            <c:numRef>
              <c:f>Sheet1!$B$2:$B$6</c:f>
              <c:numCache>
                <c:formatCode>General</c:formatCode>
                <c:ptCount val="5"/>
                <c:pt idx="0">
                  <c:v>1.234</c:v>
                </c:pt>
                <c:pt idx="1">
                  <c:v>0.91200000000000003</c:v>
                </c:pt>
                <c:pt idx="2">
                  <c:v>1.1040000000000001</c:v>
                </c:pt>
                <c:pt idx="3">
                  <c:v>0.61</c:v>
                </c:pt>
                <c:pt idx="4">
                  <c:v>0.34899999999999998</c:v>
                </c:pt>
              </c:numCache>
            </c:numRef>
          </c:yVal>
          <c:bubbleSize>
            <c:numRef>
              <c:f>Sheet1!$C$2:$C$6</c:f>
              <c:numCache>
                <c:formatCode>General</c:formatCode>
                <c:ptCount val="5"/>
                <c:pt idx="0">
                  <c:v>249010159</c:v>
                </c:pt>
                <c:pt idx="1">
                  <c:v>86472426</c:v>
                </c:pt>
                <c:pt idx="2">
                  <c:v>65459706</c:v>
                </c:pt>
                <c:pt idx="3">
                  <c:v>48381314</c:v>
                </c:pt>
                <c:pt idx="4">
                  <c:v>8075661</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Edgewell Personal Care</c:v>
                  </c:pt>
                  <c:pt idx="3">
                    <c:v>Pbg</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A8C7B7-CC64-4F52-8D22-D0B2ED865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DDC23F-6AE4-4399-A4FD-610B06328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28D6B5-B1B5-4DEC-8BF1-EDCD30EB7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EE748CA-D5FA-4661-A821-C8A52EF6E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B8EC835-ED35-4279-8249-CA327D4F3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9612B1-CF80-47E5-87F3-B72552C9E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8FE091-6801-40B6-AE15-5C7D79FE5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AC89EB-EB51-4D89-8C1D-A35F35F5D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CA3336-996F-41B4-8D9E-2FEB12A22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DE8A53-0580-4154-8953-ADCB526B8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37CB83-2BF9-4FD4-8EFA-461BE746E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BF30E6-27C1-41B5-8CE8-5D6209617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972A705-8AB3-46B7-B06E-91B365F6A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F9CA39-A68C-48B8-86FD-665380D48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461A21-6930-43B9-AB39-D73C67ED9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03FAAD7-C78E-45FF-8715-D76DE2C69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14</c:v>
                </c:pt>
                <c:pt idx="3">
                  <c:v>19103503</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Pbg</c:v>
                  </c:pt>
                  <c:pt idx="3">
                    <c:v>Edgewell Personal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943654-50E3-42DB-8873-F53F35625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2878C4-B7FD-4584-A9CB-A916B7498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F6EFF8-98B6-4F5B-9508-533C0B49E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2C41B7-AC64-4BBB-89F4-EA4FE8B51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6117FF-E7EE-4011-A228-FC5567ED8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DE1568-2F00-4051-88E8-D2ADBD1C9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6ABC6E9-F14D-4CD8-A5B3-A31582116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3A03046-2D70-4190-980F-E6C31E5D7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705</c:v>
                </c:pt>
                <c:pt idx="1">
                  <c:v>12.489800000000001</c:v>
                </c:pt>
                <c:pt idx="2">
                  <c:v>11.04</c:v>
                </c:pt>
                <c:pt idx="3">
                  <c:v>9.1249000000000002</c:v>
                </c:pt>
                <c:pt idx="4">
                  <c:v>18.031400000000001</c:v>
                </c:pt>
                <c:pt idx="5">
                  <c:v>8.4085000000000001</c:v>
                </c:pt>
              </c:numCache>
            </c:numRef>
          </c:xVal>
          <c:yVal>
            <c:numRef>
              <c:f>Sheet1!$B$2:$B$7</c:f>
              <c:numCache>
                <c:formatCode>General</c:formatCode>
                <c:ptCount val="6"/>
                <c:pt idx="0">
                  <c:v>1.163</c:v>
                </c:pt>
                <c:pt idx="1">
                  <c:v>0.86799999999999999</c:v>
                </c:pt>
                <c:pt idx="2">
                  <c:v>0.64700000000000002</c:v>
                </c:pt>
                <c:pt idx="3">
                  <c:v>0.91300000000000003</c:v>
                </c:pt>
                <c:pt idx="4">
                  <c:v>0.73899999999999999</c:v>
                </c:pt>
                <c:pt idx="5">
                  <c:v>0.71499999999999997</c:v>
                </c:pt>
              </c:numCache>
            </c:numRef>
          </c:yVal>
          <c:bubbleSize>
            <c:numRef>
              <c:f>Sheet1!$C$2:$C$7</c:f>
              <c:numCache>
                <c:formatCode>General</c:formatCode>
                <c:ptCount val="6"/>
                <c:pt idx="0">
                  <c:v>219037324</c:v>
                </c:pt>
                <c:pt idx="1">
                  <c:v>65466766</c:v>
                </c:pt>
                <c:pt idx="2">
                  <c:v>21679564</c:v>
                </c:pt>
                <c:pt idx="3">
                  <c:v>13755552</c:v>
                </c:pt>
                <c:pt idx="4">
                  <c:v>6491139</c:v>
                </c:pt>
                <c:pt idx="5">
                  <c:v>6257528</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EDC8C6-1753-46A0-9F85-315D4D830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1B2D21-25D8-400C-8CF9-5EBAAC237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3ED69DA-BEB3-4878-A9FB-D154AE6D1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912FCA8-B682-4080-9018-65A92AC1A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9AF66AB-E0BD-47B6-BABC-784F64CB5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E362306-9C93-404A-8F87-03F9478E8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CEE05C1-FA2B-4353-9961-ADAD3516A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E20199-978D-4C61-8B38-77F7323FF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E1AC48-2C5E-4833-9D66-D6A032C52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8230E4-9FC3-47B7-9221-6E8D30998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A5316F-DDF8-4AD3-ABB8-D0FFCFC3B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98920B-0955-45DC-98A2-054FA292A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3E8B31-197E-4F3F-A274-BCDB6F3DB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E79193-DD7B-4386-88B8-E090EBCD2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8B2AD1-E576-44CE-BD93-D68D0D727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95461FD-30EA-46F6-9A04-20E30EA27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6372</c:v>
                </c:pt>
                <c:pt idx="3">
                  <c:v>8.9647000000000006</c:v>
                </c:pt>
                <c:pt idx="4">
                  <c:v>17.959800000000001</c:v>
                </c:pt>
                <c:pt idx="5">
                  <c:v>8.4400999999999993</c:v>
                </c:pt>
              </c:numCache>
            </c:numRef>
          </c:xVal>
          <c:yVal>
            <c:numRef>
              <c:f>Sheet1!$B$2:$B$7</c:f>
              <c:numCache>
                <c:formatCode>General</c:formatCode>
                <c:ptCount val="6"/>
                <c:pt idx="0">
                  <c:v>1.105</c:v>
                </c:pt>
                <c:pt idx="1">
                  <c:v>0.90900000000000003</c:v>
                </c:pt>
                <c:pt idx="2">
                  <c:v>0.67100000000000004</c:v>
                </c:pt>
                <c:pt idx="3">
                  <c:v>0.94</c:v>
                </c:pt>
                <c:pt idx="4">
                  <c:v>0.753</c:v>
                </c:pt>
                <c:pt idx="5">
                  <c:v>0.88500000000000001</c:v>
                </c:pt>
              </c:numCache>
            </c:numRef>
          </c:yVal>
          <c:bubbleSize>
            <c:numRef>
              <c:f>Sheet1!$C$2:$C$7</c:f>
              <c:numCache>
                <c:formatCode>General</c:formatCode>
                <c:ptCount val="6"/>
                <c:pt idx="0">
                  <c:v>71368823</c:v>
                </c:pt>
                <c:pt idx="1">
                  <c:v>22258475</c:v>
                </c:pt>
                <c:pt idx="2">
                  <c:v>5750052</c:v>
                </c:pt>
                <c:pt idx="3">
                  <c:v>5017051</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92B267-6AD7-4A05-9D88-67F6FBA88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B50BE3-D728-41E4-97D2-9593F2450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C6BD81-BDD2-4B54-849A-B59B2C53A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88549D-DDE9-47EE-A51E-2DB3A6455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EF9A4A-BE65-4482-B865-E6A9A7EA0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79E973-7E5C-4A3E-A311-F4D942530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662FE22-C5A7-4053-AC2C-650F0BB08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3311A1-F7FF-4FD9-A6FF-A78A9BB7F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548100000000002</c:v>
                </c:pt>
                <c:pt idx="1">
                  <c:v>12.683999999999999</c:v>
                </c:pt>
                <c:pt idx="2">
                  <c:v>16.350899999999999</c:v>
                </c:pt>
                <c:pt idx="3">
                  <c:v>10.02</c:v>
                </c:pt>
                <c:pt idx="4">
                  <c:v>9.2468000000000004</c:v>
                </c:pt>
              </c:numCache>
            </c:numRef>
          </c:xVal>
          <c:yVal>
            <c:numRef>
              <c:f>Sheet1!$B$2:$B$6</c:f>
              <c:numCache>
                <c:formatCode>General</c:formatCode>
                <c:ptCount val="5"/>
                <c:pt idx="0">
                  <c:v>1.1930000000000001</c:v>
                </c:pt>
                <c:pt idx="1">
                  <c:v>0.81100000000000005</c:v>
                </c:pt>
                <c:pt idx="2">
                  <c:v>0.79200000000000004</c:v>
                </c:pt>
                <c:pt idx="3">
                  <c:v>0.77600000000000002</c:v>
                </c:pt>
                <c:pt idx="4">
                  <c:v>0.57199999999999995</c:v>
                </c:pt>
              </c:numCache>
            </c:numRef>
          </c:yVal>
          <c:bubbleSize>
            <c:numRef>
              <c:f>Sheet1!$C$2:$C$6</c:f>
              <c:numCache>
                <c:formatCode>General</c:formatCode>
                <c:ptCount val="5"/>
                <c:pt idx="0">
                  <c:v>505308261</c:v>
                </c:pt>
                <c:pt idx="1">
                  <c:v>116928743</c:v>
                </c:pt>
                <c:pt idx="2">
                  <c:v>30738117</c:v>
                </c:pt>
                <c:pt idx="3">
                  <c:v>17321957</c:v>
                </c:pt>
                <c:pt idx="4">
                  <c:v>14838592</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5E9B10-1067-4467-BC2C-AEB3E95B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F7AD460-DDD9-4A90-A5C1-6DDAB85D4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55BAC37-7295-4864-B8D7-58F241393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018F8C-CEF4-4E8E-91B9-0C512C1C2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56B05C6-1924-43F3-9737-6792E7E04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0BDC26A-6665-485F-805F-D1DE23CF3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8BA09B-60D3-4D8D-BF23-166FBE7CB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E02DD07-2E42-4FBF-9C34-691477E00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Procter &amp; Gamb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BA94BE-7E48-4644-9C11-2E6228B1E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A0053-1F2E-4635-AD64-2FE8DEC2F6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5EBEC6-B434-4072-81AB-E9D7E7991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B386B6-B949-48BB-BC34-2D5307EE9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411840-A691-4919-B982-E51BD2A3BE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B0DC5A-0F6C-400C-8041-4556B25DB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ACA3C7F-696C-43B6-B402-CA06E1F7D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A37F51-5223-486A-9701-94D18995C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43399999999999</c:v>
                </c:pt>
                <c:pt idx="3">
                  <c:v>11.0656</c:v>
                </c:pt>
                <c:pt idx="4">
                  <c:v>10.835800000000001</c:v>
                </c:pt>
                <c:pt idx="5">
                  <c:v>2.9802</c:v>
                </c:pt>
              </c:numCache>
            </c:numRef>
          </c:xVal>
          <c:yVal>
            <c:numRef>
              <c:f>Sheet1!$B$2:$B$7</c:f>
              <c:numCache>
                <c:formatCode>General</c:formatCode>
                <c:ptCount val="6"/>
                <c:pt idx="0">
                  <c:v>1.3759999999999999</c:v>
                </c:pt>
                <c:pt idx="1">
                  <c:v>0.86699999999999999</c:v>
                </c:pt>
                <c:pt idx="2">
                  <c:v>0.88100000000000001</c:v>
                </c:pt>
                <c:pt idx="3">
                  <c:v>0.83</c:v>
                </c:pt>
                <c:pt idx="4">
                  <c:v>0.78200000000000003</c:v>
                </c:pt>
                <c:pt idx="5">
                  <c:v>0.113</c:v>
                </c:pt>
              </c:numCache>
            </c:numRef>
          </c:yVal>
          <c:bubbleSize>
            <c:numRef>
              <c:f>Sheet1!$C$2:$C$7</c:f>
              <c:numCache>
                <c:formatCode>General</c:formatCode>
                <c:ptCount val="6"/>
                <c:pt idx="0">
                  <c:v>118612656</c:v>
                </c:pt>
                <c:pt idx="1">
                  <c:v>46786767</c:v>
                </c:pt>
                <c:pt idx="2">
                  <c:v>8929285</c:v>
                </c:pt>
                <c:pt idx="3">
                  <c:v>7744393</c:v>
                </c:pt>
                <c:pt idx="4">
                  <c:v>7538618</c:v>
                </c:pt>
                <c:pt idx="5">
                  <c:v>259742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pt idx="5">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65.5</c:v>
                </c:pt>
                <c:pt idx="2">
                  <c:v>690.8</c:v>
                </c:pt>
                <c:pt idx="3">
                  <c:v>30.7</c:v>
                </c:pt>
                <c:pt idx="4">
                  <c:v>334.1</c:v>
                </c:pt>
                <c:pt idx="5">
                  <c:v>2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90C-4FB5-BEE4-9A86B7107962}"/>
                </c:ext>
              </c:extLst>
            </c:dLbl>
            <c:dLbl>
              <c:idx val="5"/>
              <c:tx>
                <c:rich>
                  <a:bodyPr/>
                  <a:lstStyle/>
                  <a:p>
                    <a:r>
                      <a:t>3.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90C-4FB5-BEE4-9A86B710796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1.0993999999999999</c:v>
                </c:pt>
                <c:pt idx="2">
                  <c:v>2.8473000000000002</c:v>
                </c:pt>
                <c:pt idx="3">
                  <c:v>2.2541000000000002</c:v>
                </c:pt>
                <c:pt idx="4">
                  <c:v>4.9779999999999998</c:v>
                </c:pt>
                <c:pt idx="5">
                  <c:v>3.2216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80B6485-5697-4EBB-9166-9F44F4161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8C4458F-7696-4B5D-B69C-C8E91E173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0680A4E-DB7A-4D38-BDA9-2E1D268F0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B1FF088-D59E-495E-90B8-60A87FDFB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DD4038E-34F3-4C86-925C-3FBE3E18A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2B2D8A5-EF61-4CF4-8482-FDA76C298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DB2EF04E-D5FA-4F07-9BB8-0AE202E50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360EDE50-1C86-4B05-861F-9AD294187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11.8</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F9B-4911-A635-33B7D33458C8}"/>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F9B-4911-A635-33B7D33458C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90680000000000005</c:v>
                </c:pt>
                <c:pt idx="2">
                  <c:v>2.2970999999999999</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19.100000000000001</c:v>
                </c:pt>
                <c:pt idx="2">
                  <c:v>192.2</c:v>
                </c:pt>
                <c:pt idx="3">
                  <c:v>8.9</c:v>
                </c:pt>
                <c:pt idx="4">
                  <c:v>110.1</c:v>
                </c:pt>
                <c:pt idx="5">
                  <c:v>5.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B3B-4119-93A0-D2C3D2D67D5B}"/>
                </c:ext>
              </c:extLst>
            </c:dLbl>
            <c:dLbl>
              <c:idx val="5"/>
              <c:tx>
                <c:rich>
                  <a:bodyPr/>
                  <a:lstStyle/>
                  <a:p>
                    <a:r>
                      <a:t>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B3B-4119-93A0-D2C3D2D67D5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98740000000000006</c:v>
                </c:pt>
                <c:pt idx="2">
                  <c:v>2.6341000000000001</c:v>
                </c:pt>
                <c:pt idx="3">
                  <c:v>2.3195999999999999</c:v>
                </c:pt>
                <c:pt idx="4">
                  <c:v>4.7678000000000003</c:v>
                </c:pt>
                <c:pt idx="5">
                  <c:v>3.2014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65.5</c:v>
                </c:pt>
                <c:pt idx="2">
                  <c:v>690.8</c:v>
                </c:pt>
                <c:pt idx="3">
                  <c:v>28.9</c:v>
                </c:pt>
                <c:pt idx="4">
                  <c:v>334.1</c:v>
                </c:pt>
                <c:pt idx="5">
                  <c:v>2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73E-4CDA-9213-DAB18F075699}"/>
                </c:ext>
              </c:extLst>
            </c:dLbl>
            <c:dLbl>
              <c:idx val="5"/>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73E-4CDA-9213-DAB18F07569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1.0993999999999999</c:v>
                </c:pt>
                <c:pt idx="2">
                  <c:v>2.8473000000000002</c:v>
                </c:pt>
                <c:pt idx="3">
                  <c:v>2.2757000000000001</c:v>
                </c:pt>
                <c:pt idx="4">
                  <c:v>4.9779999999999998</c:v>
                </c:pt>
                <c:pt idx="5">
                  <c:v>3.1467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25.1</c:v>
                </c:pt>
                <c:pt idx="2">
                  <c:v>690.8</c:v>
                </c:pt>
                <c:pt idx="3">
                  <c:v>7.6</c:v>
                </c:pt>
                <c:pt idx="4">
                  <c:v>334.1</c:v>
                </c:pt>
                <c:pt idx="5">
                  <c:v>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1B1-4529-8819-24C656AF1ABD}"/>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1B1-4529-8819-24C656AF1AB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0.54459999999999997</c:v>
                </c:pt>
                <c:pt idx="2">
                  <c:v>2.8473000000000002</c:v>
                </c:pt>
                <c:pt idx="3">
                  <c:v>2.0587</c:v>
                </c:pt>
                <c:pt idx="4">
                  <c:v>4.9779999999999998</c:v>
                </c:pt>
                <c:pt idx="5">
                  <c:v>4.21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0</c:v>
                </c:pt>
                <c:pt idx="2">
                  <c:v>690.8</c:v>
                </c:pt>
                <c:pt idx="3">
                  <c:v>1.1000000000000001</c:v>
                </c:pt>
                <c:pt idx="4">
                  <c:v>334.1</c:v>
                </c:pt>
                <c:pt idx="5">
                  <c:v>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64D-45C0-9E08-7CEAB7996CAE}"/>
                </c:ext>
              </c:extLst>
            </c:dLbl>
            <c:dLbl>
              <c:idx val="5"/>
              <c:tx>
                <c:rich>
                  <a:bodyPr/>
                  <a:lstStyle/>
                  <a:p>
                    <a:r>
                      <a:t>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64D-45C0-9E08-7CEAB7996CA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0</c:v>
                </c:pt>
                <c:pt idx="2">
                  <c:v>2.8473000000000002</c:v>
                </c:pt>
                <c:pt idx="3">
                  <c:v>3.1802999999999999</c:v>
                </c:pt>
                <c:pt idx="4">
                  <c:v>4.9779999999999998</c:v>
                </c:pt>
                <c:pt idx="5">
                  <c:v>5.4969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11.8</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214-4337-94DA-549A2751541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214-4337-94DA-549A2751541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90680000000000005</c:v>
                </c:pt>
                <c:pt idx="2">
                  <c:v>2.2970999999999999</c:v>
                </c:pt>
                <c:pt idx="3">
                  <c:v>0</c:v>
                </c:pt>
                <c:pt idx="4">
                  <c:v>3.14650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0</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532-4177-9FF2-C0B5AA4878F1}"/>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532-4177-9FF2-C0B5AA4878F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c:v>
                </c:pt>
                <c:pt idx="2">
                  <c:v>2.2970999999999999</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19.100000000000001</c:v>
                </c:pt>
                <c:pt idx="2">
                  <c:v>192.2</c:v>
                </c:pt>
                <c:pt idx="3">
                  <c:v>8.9</c:v>
                </c:pt>
                <c:pt idx="4">
                  <c:v>110.1</c:v>
                </c:pt>
                <c:pt idx="5">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E6E-467B-B44E-B116ADACCDE7}"/>
                </c:ext>
              </c:extLst>
            </c:dLbl>
            <c:dLbl>
              <c:idx val="5"/>
              <c:tx>
                <c:rich>
                  <a:bodyPr/>
                  <a:lstStyle/>
                  <a:p>
                    <a:r>
                      <a:t>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E6E-467B-B44E-B116ADACCDE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98740000000000006</c:v>
                </c:pt>
                <c:pt idx="2">
                  <c:v>2.6341000000000001</c:v>
                </c:pt>
                <c:pt idx="3">
                  <c:v>2.3166000000000002</c:v>
                </c:pt>
                <c:pt idx="4">
                  <c:v>4.7678000000000003</c:v>
                </c:pt>
                <c:pt idx="5">
                  <c:v>3.1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24.8</c:v>
                </c:pt>
                <c:pt idx="2">
                  <c:v>192.2</c:v>
                </c:pt>
                <c:pt idx="3">
                  <c:v>7.5</c:v>
                </c:pt>
                <c:pt idx="4">
                  <c:v>110.1</c:v>
                </c:pt>
                <c:pt idx="5">
                  <c:v>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AED-4E1B-BD03-95DC7B37B4EB}"/>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AED-4E1B-BD03-95DC7B37B4E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54459999999999997</c:v>
                </c:pt>
                <c:pt idx="2">
                  <c:v>2.6341000000000001</c:v>
                </c:pt>
                <c:pt idx="3">
                  <c:v>2.0589</c:v>
                </c:pt>
                <c:pt idx="4">
                  <c:v>4.7678000000000003</c:v>
                </c:pt>
                <c:pt idx="5">
                  <c:v>4.21980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0</c:v>
                </c:pt>
                <c:pt idx="2">
                  <c:v>192.2</c:v>
                </c:pt>
                <c:pt idx="3">
                  <c:v>0</c:v>
                </c:pt>
                <c:pt idx="4">
                  <c:v>110.1</c:v>
                </c:pt>
                <c:pt idx="5">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479F-4C30-9C71-D8B204AA3E12}"/>
                </c:ext>
              </c:extLst>
            </c:dLbl>
            <c:dLbl>
              <c:idx val="5"/>
              <c:tx>
                <c:rich>
                  <a:bodyPr/>
                  <a:lstStyle/>
                  <a:p>
                    <a:r>
                      <a:t>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479F-4C30-9C71-D8B204AA3E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c:v>
                </c:pt>
                <c:pt idx="2">
                  <c:v>2.6341000000000001</c:v>
                </c:pt>
                <c:pt idx="3">
                  <c:v>3.3773</c:v>
                </c:pt>
                <c:pt idx="4">
                  <c:v>4.7678000000000003</c:v>
                </c:pt>
                <c:pt idx="5">
                  <c:v>7.3948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C2F8E1-8CA0-4DBA-943C-853B859A8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14B366-950B-4DFE-93A6-EDD0222E6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61F7B9-FC25-403B-A14D-613D4E5EC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44DD03D-429C-4B6D-9A5C-4C35C1CC4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DF37E2-FEF4-434A-85F8-7D4BB5C20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6E96F9C-4DE6-44EA-9919-7D4D3BBFB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BBD465D-8B20-4D4B-8CE4-918687ACE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4618EC6-6806-45FF-8C38-318CEA41C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699999999999</c:v>
                </c:pt>
                <c:pt idx="1">
                  <c:v>23.116800000000001</c:v>
                </c:pt>
                <c:pt idx="2">
                  <c:v>9.6452000000000009</c:v>
                </c:pt>
              </c:numCache>
            </c:numRef>
          </c:xVal>
          <c:yVal>
            <c:numRef>
              <c:f>Sheet1!$B$2:$B$4</c:f>
              <c:numCache>
                <c:formatCode>General</c:formatCode>
                <c:ptCount val="3"/>
                <c:pt idx="0">
                  <c:v>1.004</c:v>
                </c:pt>
                <c:pt idx="1">
                  <c:v>0.86499999999999999</c:v>
                </c:pt>
                <c:pt idx="2">
                  <c:v>0.74099999999999999</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1082.2</c:v>
                </c:pt>
                <c:pt idx="1">
                  <c:v>49.4</c:v>
                </c:pt>
                <c:pt idx="2">
                  <c:v>463.1</c:v>
                </c:pt>
                <c:pt idx="3">
                  <c:v>6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A95-47A3-8327-FE1926B6D466}"/>
                </c:ext>
              </c:extLst>
            </c:dLbl>
            <c:dLbl>
              <c:idx val="1"/>
              <c:tx>
                <c:rich>
                  <a:bodyPr/>
                  <a:lstStyle/>
                  <a:p>
                    <a:r>
                      <a:t>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A95-47A3-8327-FE1926B6D466}"/>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A95-47A3-8327-FE1926B6D466}"/>
                </c:ext>
              </c:extLst>
            </c:dLbl>
            <c:dLbl>
              <c:idx val="3"/>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A95-47A3-8327-FE1926B6D46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3.0737999999999999</c:v>
                </c:pt>
                <c:pt idx="1">
                  <c:v>2.5708000000000002</c:v>
                </c:pt>
                <c:pt idx="2">
                  <c:v>0.99619999999999997</c:v>
                </c:pt>
                <c:pt idx="3">
                  <c:v>1.0993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C$2:$C$5</c:f>
              <c:numCache>
                <c:formatCode>General</c:formatCode>
                <c:ptCount val="4"/>
                <c:pt idx="0">
                  <c:v>1082.2</c:v>
                </c:pt>
                <c:pt idx="1">
                  <c:v>10</c:v>
                </c:pt>
                <c:pt idx="2">
                  <c:v>463.1</c:v>
                </c:pt>
                <c:pt idx="3">
                  <c:v>2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352D-44BD-9CAE-7875762A9EE3}"/>
                </c:ext>
              </c:extLst>
            </c:dLbl>
            <c:dLbl>
              <c:idx val="1"/>
              <c:tx>
                <c:rich>
                  <a:bodyPr/>
                  <a:lstStyle/>
                  <a:p>
                    <a:r>
                      <a:t>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352D-44BD-9CAE-7875762A9EE3}"/>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52D-44BD-9CAE-7875762A9EE3}"/>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52D-44BD-9CAE-7875762A9EE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D$2:$D$5</c:f>
              <c:numCache>
                <c:formatCode>General</c:formatCode>
                <c:ptCount val="4"/>
                <c:pt idx="0">
                  <c:v>3.0737999999999999</c:v>
                </c:pt>
                <c:pt idx="1">
                  <c:v>2.3466</c:v>
                </c:pt>
                <c:pt idx="2">
                  <c:v>0.99619999999999997</c:v>
                </c:pt>
                <c:pt idx="3">
                  <c:v>0.544599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1082.2</c:v>
                </c:pt>
                <c:pt idx="1">
                  <c:v>1.8</c:v>
                </c:pt>
                <c:pt idx="2">
                  <c:v>463.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6E2-4201-8953-AD128BD76362}"/>
                </c:ext>
              </c:extLst>
            </c:dLbl>
            <c:dLbl>
              <c:idx val="1"/>
              <c:tx>
                <c:rich>
                  <a:bodyPr/>
                  <a:lstStyle/>
                  <a:p>
                    <a:r>
                      <a:t>3.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6E2-4201-8953-AD128BD76362}"/>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6E2-4201-8953-AD128BD7636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6E2-4201-8953-AD128BD7636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3.0737999999999999</c:v>
                </c:pt>
                <c:pt idx="1">
                  <c:v>3.8083</c:v>
                </c:pt>
                <c:pt idx="2">
                  <c:v>0.9961999999999999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89.5</c:v>
                </c:pt>
                <c:pt idx="1">
                  <c:v>0</c:v>
                </c:pt>
                <c:pt idx="2">
                  <c:v>31.5</c:v>
                </c:pt>
                <c:pt idx="3">
                  <c:v>1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E1D8-4B51-9FDE-81E0D7309A2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E1D8-4B51-9FDE-81E0D7309A29}"/>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1D8-4B51-9FDE-81E0D7309A29}"/>
                </c:ext>
              </c:extLst>
            </c:dLbl>
            <c:dLbl>
              <c:idx val="3"/>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1D8-4B51-9FDE-81E0D7309A2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2.4298999999999999</c:v>
                </c:pt>
                <c:pt idx="1">
                  <c:v>0</c:v>
                </c:pt>
                <c:pt idx="2">
                  <c:v>0.72850000000000004</c:v>
                </c:pt>
                <c:pt idx="3">
                  <c:v>0.9068000000000000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89.5</c:v>
                </c:pt>
                <c:pt idx="1">
                  <c:v>0</c:v>
                </c:pt>
                <c:pt idx="2">
                  <c:v>31.5</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481-4CB7-98DF-F47B6EDD4E92}"/>
                </c:ext>
              </c:extLst>
            </c:dLbl>
            <c:dLbl>
              <c:idx val="1"/>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481-4CB7-98DF-F47B6EDD4E92}"/>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481-4CB7-98DF-F47B6EDD4E9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481-4CB7-98DF-F47B6EDD4E9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2.4298999999999999</c:v>
                </c:pt>
                <c:pt idx="1">
                  <c:v>1.8011999999999999</c:v>
                </c:pt>
                <c:pt idx="2">
                  <c:v>0.72850000000000004</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329.5</c:v>
                </c:pt>
                <c:pt idx="1">
                  <c:v>14.5</c:v>
                </c:pt>
                <c:pt idx="2">
                  <c:v>161.80000000000001</c:v>
                </c:pt>
                <c:pt idx="3">
                  <c:v>19.1000000000000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D07-46FF-B630-27359BEBEB2B}"/>
                </c:ext>
              </c:extLst>
            </c:dLbl>
            <c:dLbl>
              <c:idx val="1"/>
              <c:tx>
                <c:rich>
                  <a:bodyPr/>
                  <a:lstStyle/>
                  <a:p>
                    <a:r>
                      <a:t>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D07-46FF-B630-27359BEBEB2B}"/>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D07-46FF-B630-27359BEBEB2B}"/>
                </c:ext>
              </c:extLst>
            </c:dLbl>
            <c:dLbl>
              <c:idx val="3"/>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D07-46FF-B630-27359BEBEB2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2.8391999999999999</c:v>
                </c:pt>
                <c:pt idx="1">
                  <c:v>2.5882999999999998</c:v>
                </c:pt>
                <c:pt idx="2">
                  <c:v>0.9284</c:v>
                </c:pt>
                <c:pt idx="3">
                  <c:v>0.9874000000000000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C$2:$C$5</c:f>
              <c:numCache>
                <c:formatCode>General</c:formatCode>
                <c:ptCount val="4"/>
                <c:pt idx="0">
                  <c:v>329.5</c:v>
                </c:pt>
                <c:pt idx="1">
                  <c:v>9.9</c:v>
                </c:pt>
                <c:pt idx="2">
                  <c:v>161.80000000000001</c:v>
                </c:pt>
                <c:pt idx="3">
                  <c:v>24.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E3D-4304-91DD-BB436893192D}"/>
                </c:ext>
              </c:extLst>
            </c:dLbl>
            <c:dLbl>
              <c:idx val="1"/>
              <c:tx>
                <c:rich>
                  <a:bodyPr/>
                  <a:lstStyle/>
                  <a:p>
                    <a:r>
                      <a:t>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E3D-4304-91DD-BB436893192D}"/>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E3D-4304-91DD-BB436893192D}"/>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E3D-4304-91DD-BB436893192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D$2:$D$5</c:f>
              <c:numCache>
                <c:formatCode>General</c:formatCode>
                <c:ptCount val="4"/>
                <c:pt idx="0">
                  <c:v>2.8391999999999999</c:v>
                </c:pt>
                <c:pt idx="1">
                  <c:v>2.3468</c:v>
                </c:pt>
                <c:pt idx="2">
                  <c:v>0.9284</c:v>
                </c:pt>
                <c:pt idx="3">
                  <c:v>0.544599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329.5</c:v>
                </c:pt>
                <c:pt idx="1">
                  <c:v>0.1</c:v>
                </c:pt>
                <c:pt idx="2">
                  <c:v>161.8000000000000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2402-496F-A913-E86E68B1684B}"/>
                </c:ext>
              </c:extLst>
            </c:dLbl>
            <c:dLbl>
              <c:idx val="1"/>
              <c:tx>
                <c:rich>
                  <a:bodyPr/>
                  <a:lstStyle/>
                  <a:p>
                    <a:r>
                      <a:t>5.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2402-496F-A913-E86E68B1684B}"/>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2402-496F-A913-E86E68B1684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2402-496F-A913-E86E68B1684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2.8391999999999999</c:v>
                </c:pt>
                <c:pt idx="1">
                  <c:v>5.3327</c:v>
                </c:pt>
                <c:pt idx="2">
                  <c:v>0.9284</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747-458F-8E8A-C4E0998CC5C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C$2:$C$9</c:f>
              <c:numCache>
                <c:formatCode>General</c:formatCode>
                <c:ptCount val="8"/>
                <c:pt idx="0">
                  <c:v>690.8</c:v>
                </c:pt>
                <c:pt idx="1">
                  <c:v>28.9</c:v>
                </c:pt>
                <c:pt idx="2">
                  <c:v>463.1</c:v>
                </c:pt>
                <c:pt idx="3">
                  <c:v>65.5</c:v>
                </c:pt>
                <c:pt idx="4">
                  <c:v>334.1</c:v>
                </c:pt>
                <c:pt idx="5">
                  <c:v>20.5</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747-458F-8E8A-C4E0998CC5C2}"/>
                </c:ext>
              </c:extLst>
            </c:dLbl>
            <c:dLbl>
              <c:idx val="1"/>
              <c:tx>
                <c:rich>
                  <a:bodyPr/>
                  <a:lstStyle/>
                  <a:p>
                    <a:r>
                      <a:t>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747-458F-8E8A-C4E0998CC5C2}"/>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747-458F-8E8A-C4E0998CC5C2}"/>
                </c:ext>
              </c:extLst>
            </c:dLbl>
            <c:dLbl>
              <c:idx val="3"/>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747-458F-8E8A-C4E0998CC5C2}"/>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747-458F-8E8A-C4E0998CC5C2}"/>
                </c:ext>
              </c:extLst>
            </c:dLbl>
            <c:dLbl>
              <c:idx val="5"/>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747-458F-8E8A-C4E0998CC5C2}"/>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747-458F-8E8A-C4E0998CC5C2}"/>
                </c:ext>
              </c:extLst>
            </c:dLbl>
            <c:dLbl>
              <c:idx val="7"/>
              <c:tx>
                <c:rich>
                  <a:bodyPr/>
                  <a:lstStyle/>
                  <a:p>
                    <a:r>
                      <a:t>1.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747-458F-8E8A-C4E0998CC5C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2.2757000000000001</c:v>
                </c:pt>
                <c:pt idx="2">
                  <c:v>0.99619999999999997</c:v>
                </c:pt>
                <c:pt idx="3">
                  <c:v>1.0993999999999999</c:v>
                </c:pt>
                <c:pt idx="4">
                  <c:v>4.9779999999999998</c:v>
                </c:pt>
                <c:pt idx="5">
                  <c:v>3.1467999999999998</c:v>
                </c:pt>
                <c:pt idx="6">
                  <c:v>1.353</c:v>
                </c:pt>
                <c:pt idx="7">
                  <c:v>1.7084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6B76-44B4-B242-D6FF4AD14B4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C$2:$C$9</c:f>
              <c:numCache>
                <c:formatCode>General</c:formatCode>
                <c:ptCount val="8"/>
                <c:pt idx="0">
                  <c:v>690.8</c:v>
                </c:pt>
                <c:pt idx="1">
                  <c:v>7.6</c:v>
                </c:pt>
                <c:pt idx="2">
                  <c:v>463.1</c:v>
                </c:pt>
                <c:pt idx="3">
                  <c:v>25.1</c:v>
                </c:pt>
                <c:pt idx="4">
                  <c:v>334.1</c:v>
                </c:pt>
                <c:pt idx="5">
                  <c:v>2.4</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B76-44B4-B242-D6FF4AD14B40}"/>
                </c:ext>
              </c:extLst>
            </c:dLbl>
            <c:dLbl>
              <c:idx val="1"/>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B76-44B4-B242-D6FF4AD14B40}"/>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B76-44B4-B242-D6FF4AD14B40}"/>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B76-44B4-B242-D6FF4AD14B40}"/>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B76-44B4-B242-D6FF4AD14B40}"/>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B76-44B4-B242-D6FF4AD14B40}"/>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B76-44B4-B242-D6FF4AD14B4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B76-44B4-B242-D6FF4AD14B4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2.0587</c:v>
                </c:pt>
                <c:pt idx="2">
                  <c:v>0.99619999999999997</c:v>
                </c:pt>
                <c:pt idx="3">
                  <c:v>0.54459999999999997</c:v>
                </c:pt>
                <c:pt idx="4">
                  <c:v>4.9779999999999998</c:v>
                </c:pt>
                <c:pt idx="5">
                  <c:v>4.2195</c:v>
                </c:pt>
                <c:pt idx="6">
                  <c:v>1.35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AA89804-0913-4090-92AE-A1D022216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86784F4-5A33-406A-B182-2C6A6550F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C3FB528-390C-4AB5-975F-1FE270DEF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78EED32C-F5B9-4117-A77E-1DF10F2FD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90A6C73F-4AC7-49E1-97DD-748E3B64B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0EC9138-0F9C-49CE-9DA9-B11B04483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74443E6-9A55-4AA4-B12B-86AF9177F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2C2B4BD-555D-4235-8209-9F199DB4D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2BB-4F06-94B5-D40C3F27E46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C$2:$C$9</c:f>
              <c:numCache>
                <c:formatCode>General</c:formatCode>
                <c:ptCount val="8"/>
                <c:pt idx="0">
                  <c:v>690.8</c:v>
                </c:pt>
                <c:pt idx="1">
                  <c:v>1.1000000000000001</c:v>
                </c:pt>
                <c:pt idx="2">
                  <c:v>463.1</c:v>
                </c:pt>
                <c:pt idx="3">
                  <c:v>0</c:v>
                </c:pt>
                <c:pt idx="4">
                  <c:v>334.1</c:v>
                </c:pt>
                <c:pt idx="5">
                  <c:v>0.7</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2BB-4F06-94B5-D40C3F27E464}"/>
                </c:ext>
              </c:extLst>
            </c:dLbl>
            <c:dLbl>
              <c:idx val="1"/>
              <c:tx>
                <c:rich>
                  <a:bodyPr/>
                  <a:lstStyle/>
                  <a:p>
                    <a:r>
                      <a:t>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2BB-4F06-94B5-D40C3F27E464}"/>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2BB-4F06-94B5-D40C3F27E46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2BB-4F06-94B5-D40C3F27E464}"/>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2BB-4F06-94B5-D40C3F27E464}"/>
                </c:ext>
              </c:extLst>
            </c:dLbl>
            <c:dLbl>
              <c:idx val="5"/>
              <c:tx>
                <c:rich>
                  <a:bodyPr/>
                  <a:lstStyle/>
                  <a:p>
                    <a:r>
                      <a:t>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2BB-4F06-94B5-D40C3F27E464}"/>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2BB-4F06-94B5-D40C3F27E46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2BB-4F06-94B5-D40C3F27E46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3.1802999999999999</c:v>
                </c:pt>
                <c:pt idx="2">
                  <c:v>0.99619999999999997</c:v>
                </c:pt>
                <c:pt idx="3">
                  <c:v>0</c:v>
                </c:pt>
                <c:pt idx="4">
                  <c:v>4.9779999999999998</c:v>
                </c:pt>
                <c:pt idx="5">
                  <c:v>5.4969000000000001</c:v>
                </c:pt>
                <c:pt idx="6">
                  <c:v>1.35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E915-4501-B024-0B5E198C3582}"/>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Schick</c:v>
                  </c:pt>
                  <c:pt idx="2">
                    <c:v>Total</c:v>
                  </c:pt>
                  <c:pt idx="3">
                    <c:v>Schick</c:v>
                  </c:pt>
                  <c:pt idx="4">
                    <c:v>Total</c:v>
                  </c:pt>
                  <c:pt idx="5">
                    <c:v>Schick</c:v>
                  </c:pt>
                </c:lvl>
                <c:lvl>
                  <c:pt idx="0">
                    <c:v>Refills</c:v>
                  </c:pt>
                  <c:pt idx="2">
                    <c:v>Disposables</c:v>
                  </c:pt>
                  <c:pt idx="4">
                    <c:v>Razors</c:v>
                  </c:pt>
                </c:lvl>
              </c:multiLvlStrCache>
            </c:multiLvlStrRef>
          </c:cat>
          <c:val>
            <c:numRef>
              <c:f>Sheet1!$C$2:$C$7</c:f>
              <c:numCache>
                <c:formatCode>General</c:formatCode>
                <c:ptCount val="6"/>
                <c:pt idx="0">
                  <c:v>71.400000000000006</c:v>
                </c:pt>
                <c:pt idx="1">
                  <c:v>0</c:v>
                </c:pt>
                <c:pt idx="2">
                  <c:v>31.5</c:v>
                </c:pt>
                <c:pt idx="3">
                  <c:v>11.8</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915-4501-B024-0B5E198C3582}"/>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915-4501-B024-0B5E198C3582}"/>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915-4501-B024-0B5E198C3582}"/>
                </c:ext>
              </c:extLst>
            </c:dLbl>
            <c:dLbl>
              <c:idx val="3"/>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915-4501-B024-0B5E198C3582}"/>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915-4501-B024-0B5E198C358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915-4501-B024-0B5E198C358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Schick</c:v>
                  </c:pt>
                  <c:pt idx="2">
                    <c:v>Total</c:v>
                  </c:pt>
                  <c:pt idx="3">
                    <c:v>Schick</c:v>
                  </c:pt>
                  <c:pt idx="4">
                    <c:v>Total</c:v>
                  </c:pt>
                  <c:pt idx="5">
                    <c:v>Schick</c:v>
                  </c:pt>
                </c:lvl>
                <c:lvl>
                  <c:pt idx="0">
                    <c:v>Refills</c:v>
                  </c:pt>
                  <c:pt idx="2">
                    <c:v>Disposables</c:v>
                  </c:pt>
                  <c:pt idx="4">
                    <c:v>Razors</c:v>
                  </c:pt>
                </c:lvl>
              </c:multiLvlStrCache>
            </c:multiLvlStrRef>
          </c:cat>
          <c:val>
            <c:numRef>
              <c:f>Sheet1!$D$2:$D$7</c:f>
              <c:numCache>
                <c:formatCode>General</c:formatCode>
                <c:ptCount val="6"/>
                <c:pt idx="0">
                  <c:v>2.2970999999999999</c:v>
                </c:pt>
                <c:pt idx="1">
                  <c:v>0</c:v>
                </c:pt>
                <c:pt idx="2">
                  <c:v>0.72850000000000004</c:v>
                </c:pt>
                <c:pt idx="3">
                  <c:v>0.90680000000000005</c:v>
                </c:pt>
                <c:pt idx="4">
                  <c:v>3.14650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6D8-4D33-9B98-93B25974789A}"/>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Cremo</c:v>
                  </c:pt>
                  <c:pt idx="2">
                    <c:v>Total</c:v>
                  </c:pt>
                  <c:pt idx="3">
                    <c:v>Cremo</c:v>
                  </c:pt>
                  <c:pt idx="4">
                    <c:v>Total</c:v>
                  </c:pt>
                  <c:pt idx="5">
                    <c:v>Cremo</c:v>
                  </c:pt>
                </c:lvl>
                <c:lvl>
                  <c:pt idx="0">
                    <c:v>Refills</c:v>
                  </c:pt>
                  <c:pt idx="2">
                    <c:v>Disposables</c:v>
                  </c:pt>
                  <c:pt idx="4">
                    <c:v>Razors</c:v>
                  </c:pt>
                </c:lvl>
              </c:multiLvlStrCache>
            </c:multiLvlStrRef>
          </c:cat>
          <c:val>
            <c:numRef>
              <c:f>Sheet1!$C$2:$C$7</c:f>
              <c:numCache>
                <c:formatCode>General</c:formatCode>
                <c:ptCount val="6"/>
                <c:pt idx="0">
                  <c:v>71.400000000000006</c:v>
                </c:pt>
                <c:pt idx="1">
                  <c:v>0</c:v>
                </c:pt>
                <c:pt idx="2">
                  <c:v>31.5</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6D8-4D33-9B98-93B25974789A}"/>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6D8-4D33-9B98-93B25974789A}"/>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6D8-4D33-9B98-93B25974789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6D8-4D33-9B98-93B25974789A}"/>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6D8-4D33-9B98-93B25974789A}"/>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6D8-4D33-9B98-93B25974789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Cremo</c:v>
                  </c:pt>
                  <c:pt idx="2">
                    <c:v>Total</c:v>
                  </c:pt>
                  <c:pt idx="3">
                    <c:v>Cremo</c:v>
                  </c:pt>
                  <c:pt idx="4">
                    <c:v>Total</c:v>
                  </c:pt>
                  <c:pt idx="5">
                    <c:v>Cremo</c:v>
                  </c:pt>
                </c:lvl>
                <c:lvl>
                  <c:pt idx="0">
                    <c:v>Refills</c:v>
                  </c:pt>
                  <c:pt idx="2">
                    <c:v>Disposables</c:v>
                  </c:pt>
                  <c:pt idx="4">
                    <c:v>Razors</c:v>
                  </c:pt>
                </c:lvl>
              </c:multiLvlStrCache>
            </c:multiLvlStrRef>
          </c:cat>
          <c:val>
            <c:numRef>
              <c:f>Sheet1!$D$2:$D$7</c:f>
              <c:numCache>
                <c:formatCode>General</c:formatCode>
                <c:ptCount val="6"/>
                <c:pt idx="0">
                  <c:v>2.2970999999999999</c:v>
                </c:pt>
                <c:pt idx="1">
                  <c:v>0</c:v>
                </c:pt>
                <c:pt idx="2">
                  <c:v>0.72850000000000004</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30D-46E5-AC3F-9CB09F137D5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C$2:$C$9</c:f>
              <c:numCache>
                <c:formatCode>General</c:formatCode>
                <c:ptCount val="8"/>
                <c:pt idx="0">
                  <c:v>192.2</c:v>
                </c:pt>
                <c:pt idx="1">
                  <c:v>8.9</c:v>
                </c:pt>
                <c:pt idx="2">
                  <c:v>161.80000000000001</c:v>
                </c:pt>
                <c:pt idx="3">
                  <c:v>19.100000000000001</c:v>
                </c:pt>
                <c:pt idx="4">
                  <c:v>110.1</c:v>
                </c:pt>
                <c:pt idx="5">
                  <c:v>5.7</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30D-46E5-AC3F-9CB09F137D5B}"/>
                </c:ext>
              </c:extLst>
            </c:dLbl>
            <c:dLbl>
              <c:idx val="1"/>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30D-46E5-AC3F-9CB09F137D5B}"/>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30D-46E5-AC3F-9CB09F137D5B}"/>
                </c:ext>
              </c:extLst>
            </c:dLbl>
            <c:dLbl>
              <c:idx val="3"/>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30D-46E5-AC3F-9CB09F137D5B}"/>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30D-46E5-AC3F-9CB09F137D5B}"/>
                </c:ext>
              </c:extLst>
            </c:dLbl>
            <c:dLbl>
              <c:idx val="5"/>
              <c:tx>
                <c:rich>
                  <a:bodyPr/>
                  <a:lstStyle/>
                  <a:p>
                    <a:r>
                      <a:t>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30D-46E5-AC3F-9CB09F137D5B}"/>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30D-46E5-AC3F-9CB09F137D5B}"/>
                </c:ext>
              </c:extLst>
            </c:dLbl>
            <c:dLbl>
              <c:idx val="7"/>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30D-46E5-AC3F-9CB09F137D5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2.3166000000000002</c:v>
                </c:pt>
                <c:pt idx="2">
                  <c:v>0.9284</c:v>
                </c:pt>
                <c:pt idx="3">
                  <c:v>0.98740000000000006</c:v>
                </c:pt>
                <c:pt idx="4">
                  <c:v>4.7678000000000003</c:v>
                </c:pt>
                <c:pt idx="5">
                  <c:v>3.173</c:v>
                </c:pt>
                <c:pt idx="6">
                  <c:v>1.3608</c:v>
                </c:pt>
                <c:pt idx="7">
                  <c:v>1.166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F72-47A7-A9A8-86F7464ADE1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C$2:$C$9</c:f>
              <c:numCache>
                <c:formatCode>General</c:formatCode>
                <c:ptCount val="8"/>
                <c:pt idx="0">
                  <c:v>192.2</c:v>
                </c:pt>
                <c:pt idx="1">
                  <c:v>7.5</c:v>
                </c:pt>
                <c:pt idx="2">
                  <c:v>161.80000000000001</c:v>
                </c:pt>
                <c:pt idx="3">
                  <c:v>24.8</c:v>
                </c:pt>
                <c:pt idx="4">
                  <c:v>110.1</c:v>
                </c:pt>
                <c:pt idx="5">
                  <c:v>2.4</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F72-47A7-A9A8-86F7464ADE1E}"/>
                </c:ext>
              </c:extLst>
            </c:dLbl>
            <c:dLbl>
              <c:idx val="1"/>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F72-47A7-A9A8-86F7464ADE1E}"/>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F72-47A7-A9A8-86F7464ADE1E}"/>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F72-47A7-A9A8-86F7464ADE1E}"/>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F72-47A7-A9A8-86F7464ADE1E}"/>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F72-47A7-A9A8-86F7464ADE1E}"/>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F72-47A7-A9A8-86F7464ADE1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F72-47A7-A9A8-86F7464ADE1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2.0589</c:v>
                </c:pt>
                <c:pt idx="2">
                  <c:v>0.9284</c:v>
                </c:pt>
                <c:pt idx="3">
                  <c:v>0.54459999999999997</c:v>
                </c:pt>
                <c:pt idx="4">
                  <c:v>4.7678000000000003</c:v>
                </c:pt>
                <c:pt idx="5">
                  <c:v>4.2198000000000002</c:v>
                </c:pt>
                <c:pt idx="6">
                  <c:v>1.360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6898-4D65-90DA-499D998F90F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C$2:$C$9</c:f>
              <c:numCache>
                <c:formatCode>General</c:formatCode>
                <c:ptCount val="8"/>
                <c:pt idx="0">
                  <c:v>192.2</c:v>
                </c:pt>
                <c:pt idx="1">
                  <c:v>0</c:v>
                </c:pt>
                <c:pt idx="2">
                  <c:v>161.80000000000001</c:v>
                </c:pt>
                <c:pt idx="3">
                  <c:v>0</c:v>
                </c:pt>
                <c:pt idx="4">
                  <c:v>110.1</c:v>
                </c:pt>
                <c:pt idx="5">
                  <c:v>0.1</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898-4D65-90DA-499D998F90FA}"/>
                </c:ext>
              </c:extLst>
            </c:dLbl>
            <c:dLbl>
              <c:idx val="1"/>
              <c:tx>
                <c:rich>
                  <a:bodyPr/>
                  <a:lstStyle/>
                  <a:p>
                    <a:r>
                      <a:t>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898-4D65-90DA-499D998F90FA}"/>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898-4D65-90DA-499D998F90F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898-4D65-90DA-499D998F90FA}"/>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898-4D65-90DA-499D998F90FA}"/>
                </c:ext>
              </c:extLst>
            </c:dLbl>
            <c:dLbl>
              <c:idx val="5"/>
              <c:tx>
                <c:rich>
                  <a:bodyPr/>
                  <a:lstStyle/>
                  <a:p>
                    <a:r>
                      <a:t>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898-4D65-90DA-499D998F90FA}"/>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898-4D65-90DA-499D998F90F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898-4D65-90DA-499D998F90F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3.3773</c:v>
                </c:pt>
                <c:pt idx="2">
                  <c:v>0.9284</c:v>
                </c:pt>
                <c:pt idx="3">
                  <c:v>0</c:v>
                </c:pt>
                <c:pt idx="4">
                  <c:v>4.7678000000000003</c:v>
                </c:pt>
                <c:pt idx="5">
                  <c:v>7.3948999999999998</c:v>
                </c:pt>
                <c:pt idx="6">
                  <c:v>1.360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EE159F-2833-4BCC-8FBC-BCB99A0E5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7D65F9-59CA-42E1-8982-7D69C7998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48F73B-13E7-4DDB-978D-F3A065611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240F63-1C85-4C16-82EC-FDA2C5BB5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FA7533-51F6-4956-B2A6-6454B106E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9B7DA2-12D5-40B4-BB50-D4E84955E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1F8343-0FB0-414D-BB83-E1DF96536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119C8A-1787-49F3-B41B-3AFC4AAF5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14.367000000000001</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1.8779999999999999</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EA12DD0-2D2E-4697-B859-C01B83F7D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8A2C297-B3F3-47C2-B20F-E386C9FD9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C6DDF77-FDDD-42BE-89E9-2BAA7F956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E6BCFE7-3A7A-450C-B173-5154FA6A5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7ED75E2F-42CF-40DE-9AA7-E65CC1D8E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7D4C7BB1-3471-4A82-96AC-EB8DB6D9E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5387411-F411-491F-8057-CF2989C3F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530E3D97-8EC8-42DD-BB25-1C6B44B5B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5/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07211155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97742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03451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8816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85769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72007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41069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2469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85276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6340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5046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775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53345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4418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38045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6200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94322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3221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936087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922786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903500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5383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Bj's And Sam'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60678653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28169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431092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17274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24802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66922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13605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8231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23821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43949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99305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54225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5443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30314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41933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25123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95509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4014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330517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0230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46704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7771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Walmar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85795060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50448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37067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94601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237902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9048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54710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12995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14487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85940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5180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20476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04324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4173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20159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12071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034018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05807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1459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65232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84497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87860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System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78589536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52634578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NATIONAL</a:t>
                      </a:r>
                    </a:p>
                  </a:txBody>
                  <a:tcPr anchor="ctr">
                    <a:solidFill>
                      <a:schemeClr val="bg2"/>
                    </a:solidFill>
                  </a:tcPr>
                </a:tc>
                <a:tc>
                  <a:txBody>
                    <a:bodyPr/>
                    <a:lstStyle/>
                    <a:p>
                      <a:pPr algn="ctr">
                        <a:defRPr sz="1100">
                          <a:latin typeface="Nexa Book"/>
                        </a:defRPr>
                      </a:pPr>
                      <a:r>
                        <a:rPr b="1">
                          <a:solidFill>
                            <a:srgbClr val="575555"/>
                          </a:solidFill>
                        </a:rPr>
                        <a:t>NATIONA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768935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039670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818538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658920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92023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84036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37286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378092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112415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15171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Beauty Prods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82119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System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48843789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261586717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Bj's And Sam's</a:t>
                      </a:r>
                    </a:p>
                  </a:txBody>
                  <a:tcPr anchor="ctr">
                    <a:solidFill>
                      <a:schemeClr val="bg2"/>
                    </a:solidFill>
                  </a:tcPr>
                </a:tc>
                <a:tc>
                  <a:txBody>
                    <a:bodyPr/>
                    <a:lstStyle/>
                    <a:p>
                      <a:pPr algn="ctr">
                        <a:defRPr sz="1100">
                          <a:latin typeface="Nexa Book"/>
                        </a:defRPr>
                      </a:pPr>
                      <a:r>
                        <a:rPr b="1">
                          <a:solidFill>
                            <a:srgbClr val="575555"/>
                          </a:solidFill>
                        </a:rPr>
                        <a:t>Bj's And Sam'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150499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795626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Beauty Prods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03807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49095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0923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78073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86990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83202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2684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801477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9960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System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324576107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381109441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Walmart</a:t>
                      </a:r>
                    </a:p>
                  </a:txBody>
                  <a:tcPr anchor="ctr">
                    <a:solidFill>
                      <a:schemeClr val="bg2"/>
                    </a:solidFill>
                  </a:tcPr>
                </a:tc>
                <a:tc>
                  <a:txBody>
                    <a:bodyPr/>
                    <a:lstStyle/>
                    <a:p>
                      <a:pPr algn="ctr">
                        <a:defRPr sz="1100">
                          <a:latin typeface="Nexa Book"/>
                        </a:defRPr>
                      </a:pPr>
                      <a:r>
                        <a:rPr b="1">
                          <a:solidFill>
                            <a:srgbClr val="575555"/>
                          </a:solidFill>
                        </a:rPr>
                        <a:t>Walma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005723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11428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25098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398342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65056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9279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92301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8808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68068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27485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403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Disposable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99916510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18857010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6458696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NATIONAL</a:t>
                      </a:r>
                    </a:p>
                  </a:txBody>
                  <a:tcPr anchor="ctr">
                    <a:solidFill>
                      <a:schemeClr val="bg2"/>
                    </a:solidFill>
                  </a:tcPr>
                </a:tc>
                <a:tc>
                  <a:txBody>
                    <a:bodyPr/>
                    <a:lstStyle/>
                    <a:p>
                      <a:pPr algn="ctr">
                        <a:defRPr sz="1100">
                          <a:latin typeface="Nexa Book"/>
                        </a:defRPr>
                      </a:pPr>
                      <a:r>
                        <a:rPr b="1">
                          <a:solidFill>
                            <a:srgbClr val="575555"/>
                          </a:solidFill>
                        </a:rPr>
                        <a:t>NATIONAL</a:t>
                      </a:r>
                    </a:p>
                  </a:txBody>
                  <a:tcPr anchor="ctr">
                    <a:solidFill>
                      <a:schemeClr val="bg2"/>
                    </a:solidFill>
                  </a:tcPr>
                </a:tc>
                <a:tc>
                  <a:txBody>
                    <a:bodyPr/>
                    <a:lstStyle/>
                    <a:p>
                      <a:pPr algn="ctr">
                        <a:defRPr sz="1100">
                          <a:latin typeface="Nexa Book"/>
                        </a:defRPr>
                      </a:pPr>
                      <a:r>
                        <a:rPr b="1">
                          <a:solidFill>
                            <a:srgbClr val="575555"/>
                          </a:solidFill>
                        </a:rPr>
                        <a:t>NATIONA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981059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10956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10050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82221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41946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85194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31080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262990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9268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96558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Disposable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621767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38929811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20955259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Bj's And Sam's</a:t>
                      </a:r>
                    </a:p>
                  </a:txBody>
                  <a:tcPr anchor="ctr">
                    <a:solidFill>
                      <a:schemeClr val="bg2"/>
                    </a:solidFill>
                  </a:tcPr>
                </a:tc>
                <a:tc>
                  <a:txBody>
                    <a:bodyPr/>
                    <a:lstStyle/>
                    <a:p>
                      <a:pPr algn="ctr">
                        <a:defRPr sz="1100">
                          <a:latin typeface="Nexa Book"/>
                        </a:defRPr>
                      </a:pPr>
                      <a:r>
                        <a:rPr b="1">
                          <a:solidFill>
                            <a:srgbClr val="575555"/>
                          </a:solidFill>
                        </a:rPr>
                        <a:t>Bj's And Sam's</a:t>
                      </a:r>
                    </a:p>
                  </a:txBody>
                  <a:tcPr anchor="ctr">
                    <a:solidFill>
                      <a:schemeClr val="bg2"/>
                    </a:solidFill>
                  </a:tcPr>
                </a:tc>
                <a:tc>
                  <a:txBody>
                    <a:bodyPr/>
                    <a:lstStyle/>
                    <a:p>
                      <a:pPr algn="ctr">
                        <a:defRPr sz="1100">
                          <a:latin typeface="Nexa Book"/>
                        </a:defRPr>
                      </a:pPr>
                      <a:r>
                        <a:rPr b="1">
                          <a:solidFill>
                            <a:srgbClr val="575555"/>
                          </a:solidFill>
                        </a:rPr>
                        <a:t>Bj's And Sam'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72325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Disposable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37305713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03829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54212923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Walmart</a:t>
                      </a:r>
                    </a:p>
                  </a:txBody>
                  <a:tcPr anchor="ctr">
                    <a:solidFill>
                      <a:schemeClr val="bg2"/>
                    </a:solidFill>
                  </a:tcPr>
                </a:tc>
                <a:tc>
                  <a:txBody>
                    <a:bodyPr/>
                    <a:lstStyle/>
                    <a:p>
                      <a:pPr algn="ctr">
                        <a:defRPr sz="1100">
                          <a:latin typeface="Nexa Book"/>
                        </a:defRPr>
                      </a:pPr>
                      <a:r>
                        <a:rPr b="1">
                          <a:solidFill>
                            <a:srgbClr val="575555"/>
                          </a:solidFill>
                        </a:rPr>
                        <a:t>Walmart</a:t>
                      </a:r>
                    </a:p>
                  </a:txBody>
                  <a:tcPr anchor="ctr">
                    <a:solidFill>
                      <a:schemeClr val="bg2"/>
                    </a:solidFill>
                  </a:tcPr>
                </a:tc>
                <a:tc>
                  <a:txBody>
                    <a:bodyPr/>
                    <a:lstStyle/>
                    <a:p>
                      <a:pPr algn="ctr">
                        <a:defRPr sz="1100">
                          <a:latin typeface="Nexa Book"/>
                        </a:defRPr>
                      </a:pPr>
                      <a:r>
                        <a:rPr b="1">
                          <a:solidFill>
                            <a:srgbClr val="575555"/>
                          </a:solidFill>
                        </a:rPr>
                        <a:t>Walma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2982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4</TotalTime>
  <Words>7294</Words>
  <Application>Microsoft Office PowerPoint</Application>
  <PresentationFormat>On-screen Show (16:9)</PresentationFormat>
  <Paragraphs>2056</Paragraphs>
  <Slides>78</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8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4</cp:revision>
  <dcterms:created xsi:type="dcterms:W3CDTF">2024-07-05T14:56:51Z</dcterms:created>
  <dcterms:modified xsi:type="dcterms:W3CDTF">2025-08-05T13:2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